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0" r:id="rId3"/>
    <p:sldMasterId id="2147483676" r:id="rId4"/>
    <p:sldMasterId id="2147483682" r:id="rId5"/>
  </p:sldMasterIdLst>
  <p:sldIdLst>
    <p:sldId id="256" r:id="rId6"/>
    <p:sldId id="257" r:id="rId7"/>
    <p:sldId id="259" r:id="rId8"/>
    <p:sldId id="258" r:id="rId9"/>
    <p:sldId id="260" r:id="rId10"/>
    <p:sldId id="261" r:id="rId11"/>
    <p:sldId id="262" r:id="rId12"/>
    <p:sldId id="376" r:id="rId13"/>
    <p:sldId id="370" r:id="rId14"/>
    <p:sldId id="373" r:id="rId15"/>
    <p:sldId id="347" r:id="rId16"/>
  </p:sldIdLst>
  <p:sldSz cx="12192000" cy="6858000"/>
  <p:notesSz cx="6858000" cy="9144000"/>
  <p:defaultTextStyle>
    <a:defPPr>
      <a:defRPr lang="en-US"/>
    </a:defPPr>
    <a:lvl1pPr marL="0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6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5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45714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9" d="100"/>
          <a:sy n="99" d="100"/>
        </p:scale>
        <p:origin x="78" y="4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hyperlink" Target="https://gos.etpgpb.ru/login" TargetMode="External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hyperlink" Target="https://gos.etpgpb.ru/login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4DE8C8-5000-49DF-BF8B-26CADD7D0EA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3B66F40F-9A2A-4F88-A60F-5FA0BD115FFA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sz="1800" b="0" i="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Проверка контрагента</a:t>
          </a:r>
        </a:p>
      </dgm:t>
    </dgm:pt>
    <dgm:pt modelId="{E30D0EBF-F018-4150-ACE5-77CE298641FB}" type="parTrans" cxnId="{221BF315-23B1-47CC-B563-3CF2ECC22852}">
      <dgm:prSet/>
      <dgm:spPr/>
      <dgm:t>
        <a:bodyPr/>
        <a:lstStyle/>
        <a:p>
          <a:endParaRPr lang="ru-RU" sz="1800" b="0" i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1B9864CF-1E3A-4CEC-B07F-2BD1649F5EC8}" type="sibTrans" cxnId="{221BF315-23B1-47CC-B563-3CF2ECC22852}">
      <dgm:prSet/>
      <dgm:spPr/>
      <dgm:t>
        <a:bodyPr/>
        <a:lstStyle/>
        <a:p>
          <a:endParaRPr lang="ru-RU" sz="1800" b="0" i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FA8761CA-4653-4F57-81E4-AF057208F3BD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sz="1800" b="0" i="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Введите ИНН и нажмите поиск</a:t>
          </a:r>
        </a:p>
      </dgm:t>
    </dgm:pt>
    <dgm:pt modelId="{ED8C9E91-3E1D-4909-9C65-6E1A3B73D2A2}" type="parTrans" cxnId="{69C9D62F-A205-4817-9E9C-13478439BAE7}">
      <dgm:prSet/>
      <dgm:spPr/>
      <dgm:t>
        <a:bodyPr/>
        <a:lstStyle/>
        <a:p>
          <a:endParaRPr lang="ru-RU" sz="1800" b="0" i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BFCAD903-BB66-495C-B540-DBE575BCC62D}" type="sibTrans" cxnId="{69C9D62F-A205-4817-9E9C-13478439BAE7}">
      <dgm:prSet/>
      <dgm:spPr/>
      <dgm:t>
        <a:bodyPr/>
        <a:lstStyle/>
        <a:p>
          <a:endParaRPr lang="ru-RU" sz="1800" b="0" i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2A5AA7BD-DB70-47CE-BC5B-09BD32CD3D1F}" type="pres">
      <dgm:prSet presAssocID="{934DE8C8-5000-49DF-BF8B-26CADD7D0EAA}" presName="Name0" presStyleCnt="0">
        <dgm:presLayoutVars>
          <dgm:dir/>
          <dgm:animLvl val="lvl"/>
          <dgm:resizeHandles val="exact"/>
        </dgm:presLayoutVars>
      </dgm:prSet>
      <dgm:spPr/>
    </dgm:pt>
    <dgm:pt modelId="{4EB11570-A4F4-452D-B0F7-F7BB742F7E2C}" type="pres">
      <dgm:prSet presAssocID="{3B66F40F-9A2A-4F88-A60F-5FA0BD115FFA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D7EBA3D1-A4E8-4105-812E-8F2725E444D9}" type="pres">
      <dgm:prSet presAssocID="{1B9864CF-1E3A-4CEC-B07F-2BD1649F5EC8}" presName="parTxOnlySpace" presStyleCnt="0"/>
      <dgm:spPr/>
    </dgm:pt>
    <dgm:pt modelId="{C102DF22-3739-4C7E-A7D2-7EC8001B0613}" type="pres">
      <dgm:prSet presAssocID="{FA8761CA-4653-4F57-81E4-AF057208F3BD}" presName="parTxOnly" presStyleLbl="node1" presStyleIdx="1" presStyleCnt="2" custLinFactNeighborX="2502" custLinFactNeighborY="-2285">
        <dgm:presLayoutVars>
          <dgm:chMax val="0"/>
          <dgm:chPref val="0"/>
          <dgm:bulletEnabled val="1"/>
        </dgm:presLayoutVars>
      </dgm:prSet>
      <dgm:spPr/>
    </dgm:pt>
  </dgm:ptLst>
  <dgm:cxnLst>
    <dgm:cxn modelId="{221BF315-23B1-47CC-B563-3CF2ECC22852}" srcId="{934DE8C8-5000-49DF-BF8B-26CADD7D0EAA}" destId="{3B66F40F-9A2A-4F88-A60F-5FA0BD115FFA}" srcOrd="0" destOrd="0" parTransId="{E30D0EBF-F018-4150-ACE5-77CE298641FB}" sibTransId="{1B9864CF-1E3A-4CEC-B07F-2BD1649F5EC8}"/>
    <dgm:cxn modelId="{69C9D62F-A205-4817-9E9C-13478439BAE7}" srcId="{934DE8C8-5000-49DF-BF8B-26CADD7D0EAA}" destId="{FA8761CA-4653-4F57-81E4-AF057208F3BD}" srcOrd="1" destOrd="0" parTransId="{ED8C9E91-3E1D-4909-9C65-6E1A3B73D2A2}" sibTransId="{BFCAD903-BB66-495C-B540-DBE575BCC62D}"/>
    <dgm:cxn modelId="{A75C2D64-6E9F-4F13-A27C-C045E8E8A39B}" type="presOf" srcId="{934DE8C8-5000-49DF-BF8B-26CADD7D0EAA}" destId="{2A5AA7BD-DB70-47CE-BC5B-09BD32CD3D1F}" srcOrd="0" destOrd="0" presId="urn:microsoft.com/office/officeart/2005/8/layout/chevron1"/>
    <dgm:cxn modelId="{723AB64C-F7BC-4DFE-B6D6-D2E8826213EF}" type="presOf" srcId="{3B66F40F-9A2A-4F88-A60F-5FA0BD115FFA}" destId="{4EB11570-A4F4-452D-B0F7-F7BB742F7E2C}" srcOrd="0" destOrd="0" presId="urn:microsoft.com/office/officeart/2005/8/layout/chevron1"/>
    <dgm:cxn modelId="{92468851-DF7A-4529-9758-BCA7D7A72FE8}" type="presOf" srcId="{FA8761CA-4653-4F57-81E4-AF057208F3BD}" destId="{C102DF22-3739-4C7E-A7D2-7EC8001B0613}" srcOrd="0" destOrd="0" presId="urn:microsoft.com/office/officeart/2005/8/layout/chevron1"/>
    <dgm:cxn modelId="{2D217D04-EC34-4295-9101-16C2B75E8F1D}" type="presParOf" srcId="{2A5AA7BD-DB70-47CE-BC5B-09BD32CD3D1F}" destId="{4EB11570-A4F4-452D-B0F7-F7BB742F7E2C}" srcOrd="0" destOrd="0" presId="urn:microsoft.com/office/officeart/2005/8/layout/chevron1"/>
    <dgm:cxn modelId="{62A061A4-FE06-4D3C-9B33-D90826BF5A5C}" type="presParOf" srcId="{2A5AA7BD-DB70-47CE-BC5B-09BD32CD3D1F}" destId="{D7EBA3D1-A4E8-4105-812E-8F2725E444D9}" srcOrd="1" destOrd="0" presId="urn:microsoft.com/office/officeart/2005/8/layout/chevron1"/>
    <dgm:cxn modelId="{3BE24E8A-6BF3-44C2-BC92-07169279D6FF}" type="presParOf" srcId="{2A5AA7BD-DB70-47CE-BC5B-09BD32CD3D1F}" destId="{C102DF22-3739-4C7E-A7D2-7EC8001B0613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34DE8C8-5000-49DF-BF8B-26CADD7D0EA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6555459A-4222-4E75-BB33-B46F7B26C319}">
      <dgm:prSet phldrT="[Текст]"/>
      <dgm:spPr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68009" tIns="22670" rIns="22670" bIns="22670" numCol="1" spcCol="1270" anchor="ctr" anchorCtr="0"/>
        <a:lstStyle/>
        <a:p>
          <a:r>
            <a:rPr lang="ru-RU" b="0" i="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Выполните вход </a:t>
          </a:r>
          <a:r>
            <a:rPr lang="en-US" dirty="0">
              <a:solidFill>
                <a:schemeClr val="accent3">
                  <a:lumMod val="50000"/>
                </a:schemeClr>
              </a:solidFill>
              <a:latin typeface="+mj-lt"/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https://gos.etpgpb.ru/login</a:t>
          </a:r>
          <a:r>
            <a:rPr lang="ru-RU" dirty="0">
              <a:solidFill>
                <a:schemeClr val="accent3">
                  <a:lumMod val="50000"/>
                </a:schemeClr>
              </a:solidFill>
              <a:latin typeface="+mj-lt"/>
            </a:rPr>
            <a:t> </a:t>
          </a:r>
          <a:r>
            <a:rPr lang="ru-RU" b="0" i="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с помощью ЭЦП или по средством логина и пароля</a:t>
          </a:r>
        </a:p>
      </dgm:t>
    </dgm:pt>
    <dgm:pt modelId="{2A2D9D22-FE23-4ABD-B27B-4CAE96AFFB4D}" type="parTrans" cxnId="{C4E43C22-F0FF-4248-A1B5-7057A49E93CD}">
      <dgm:prSet/>
      <dgm:spPr/>
      <dgm:t>
        <a:bodyPr/>
        <a:lstStyle/>
        <a:p>
          <a:endParaRPr lang="ru-RU">
            <a:solidFill>
              <a:schemeClr val="accent3">
                <a:lumMod val="50000"/>
              </a:schemeClr>
            </a:solidFill>
          </a:endParaRPr>
        </a:p>
      </dgm:t>
    </dgm:pt>
    <dgm:pt modelId="{B9912A15-2A2C-40C8-BD7C-43DE38CE7B07}" type="sibTrans" cxnId="{C4E43C22-F0FF-4248-A1B5-7057A49E93CD}">
      <dgm:prSet/>
      <dgm:spPr/>
      <dgm:t>
        <a:bodyPr/>
        <a:lstStyle/>
        <a:p>
          <a:endParaRPr lang="ru-RU">
            <a:solidFill>
              <a:schemeClr val="accent3">
                <a:lumMod val="50000"/>
              </a:schemeClr>
            </a:solidFill>
          </a:endParaRPr>
        </a:p>
      </dgm:t>
    </dgm:pt>
    <dgm:pt modelId="{96130820-0EE9-4DD1-9EED-7E4DA622B333}">
      <dgm:prSet phldrT="[Текст]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dirty="0">
              <a:solidFill>
                <a:schemeClr val="accent3">
                  <a:lumMod val="50000"/>
                </a:schemeClr>
              </a:solidFill>
            </a:rPr>
            <a:t>В личном кабинете перейдите в раздел Сервисы</a:t>
          </a:r>
        </a:p>
      </dgm:t>
    </dgm:pt>
    <dgm:pt modelId="{A6D36DA1-AD92-4853-A101-8DBB014ECCE7}" type="parTrans" cxnId="{1838AFE3-87C5-4858-B3E6-DE2258E2AF4C}">
      <dgm:prSet/>
      <dgm:spPr/>
      <dgm:t>
        <a:bodyPr/>
        <a:lstStyle/>
        <a:p>
          <a:endParaRPr lang="ru-RU">
            <a:solidFill>
              <a:schemeClr val="accent3">
                <a:lumMod val="50000"/>
              </a:schemeClr>
            </a:solidFill>
          </a:endParaRPr>
        </a:p>
      </dgm:t>
    </dgm:pt>
    <dgm:pt modelId="{0FA660F9-CD7B-4B51-B04F-D0A6F2785AC6}" type="sibTrans" cxnId="{1838AFE3-87C5-4858-B3E6-DE2258E2AF4C}">
      <dgm:prSet/>
      <dgm:spPr/>
      <dgm:t>
        <a:bodyPr/>
        <a:lstStyle/>
        <a:p>
          <a:endParaRPr lang="ru-RU">
            <a:solidFill>
              <a:schemeClr val="accent3">
                <a:lumMod val="50000"/>
              </a:schemeClr>
            </a:solidFill>
          </a:endParaRPr>
        </a:p>
      </dgm:t>
    </dgm:pt>
    <dgm:pt modelId="{2A5AA7BD-DB70-47CE-BC5B-09BD32CD3D1F}" type="pres">
      <dgm:prSet presAssocID="{934DE8C8-5000-49DF-BF8B-26CADD7D0EAA}" presName="Name0" presStyleCnt="0">
        <dgm:presLayoutVars>
          <dgm:dir/>
          <dgm:animLvl val="lvl"/>
          <dgm:resizeHandles val="exact"/>
        </dgm:presLayoutVars>
      </dgm:prSet>
      <dgm:spPr/>
    </dgm:pt>
    <dgm:pt modelId="{DD6584CF-9894-4A18-970B-C3B716C5DA71}" type="pres">
      <dgm:prSet presAssocID="{6555459A-4222-4E75-BB33-B46F7B26C319}" presName="parTxOnly" presStyleLbl="node1" presStyleIdx="0" presStyleCnt="2" custScaleX="157564">
        <dgm:presLayoutVars>
          <dgm:chMax val="0"/>
          <dgm:chPref val="0"/>
          <dgm:bulletEnabled val="1"/>
        </dgm:presLayoutVars>
      </dgm:prSet>
      <dgm:spPr>
        <a:xfrm>
          <a:off x="1438" y="0"/>
          <a:ext cx="5803793" cy="734286"/>
        </a:xfrm>
        <a:prstGeom prst="chevron">
          <a:avLst/>
        </a:prstGeom>
      </dgm:spPr>
    </dgm:pt>
    <dgm:pt modelId="{68433540-9C7B-4B5E-B6A0-76E84EB1DFE6}" type="pres">
      <dgm:prSet presAssocID="{B9912A15-2A2C-40C8-BD7C-43DE38CE7B07}" presName="parTxOnlySpace" presStyleCnt="0"/>
      <dgm:spPr/>
    </dgm:pt>
    <dgm:pt modelId="{295D0557-4760-4158-B47E-B36265C2FC68}" type="pres">
      <dgm:prSet presAssocID="{96130820-0EE9-4DD1-9EED-7E4DA622B333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</dgm:pt>
  </dgm:ptLst>
  <dgm:cxnLst>
    <dgm:cxn modelId="{C4E43C22-F0FF-4248-A1B5-7057A49E93CD}" srcId="{934DE8C8-5000-49DF-BF8B-26CADD7D0EAA}" destId="{6555459A-4222-4E75-BB33-B46F7B26C319}" srcOrd="0" destOrd="0" parTransId="{2A2D9D22-FE23-4ABD-B27B-4CAE96AFFB4D}" sibTransId="{B9912A15-2A2C-40C8-BD7C-43DE38CE7B07}"/>
    <dgm:cxn modelId="{43972E42-FACF-4043-89D6-AEB6FBE6170E}" type="presOf" srcId="{6555459A-4222-4E75-BB33-B46F7B26C319}" destId="{DD6584CF-9894-4A18-970B-C3B716C5DA71}" srcOrd="0" destOrd="0" presId="urn:microsoft.com/office/officeart/2005/8/layout/chevron1"/>
    <dgm:cxn modelId="{A57B7AAB-571A-4DD3-A9C8-A0ABE825358D}" type="presOf" srcId="{934DE8C8-5000-49DF-BF8B-26CADD7D0EAA}" destId="{2A5AA7BD-DB70-47CE-BC5B-09BD32CD3D1F}" srcOrd="0" destOrd="0" presId="urn:microsoft.com/office/officeart/2005/8/layout/chevron1"/>
    <dgm:cxn modelId="{B5C044AD-1D5A-4D85-BC96-36FB4F0B7590}" type="presOf" srcId="{96130820-0EE9-4DD1-9EED-7E4DA622B333}" destId="{295D0557-4760-4158-B47E-B36265C2FC68}" srcOrd="0" destOrd="0" presId="urn:microsoft.com/office/officeart/2005/8/layout/chevron1"/>
    <dgm:cxn modelId="{1838AFE3-87C5-4858-B3E6-DE2258E2AF4C}" srcId="{934DE8C8-5000-49DF-BF8B-26CADD7D0EAA}" destId="{96130820-0EE9-4DD1-9EED-7E4DA622B333}" srcOrd="1" destOrd="0" parTransId="{A6D36DA1-AD92-4853-A101-8DBB014ECCE7}" sibTransId="{0FA660F9-CD7B-4B51-B04F-D0A6F2785AC6}"/>
    <dgm:cxn modelId="{70C33E0F-E2DA-4EE1-878B-4A2007771B8D}" type="presParOf" srcId="{2A5AA7BD-DB70-47CE-BC5B-09BD32CD3D1F}" destId="{DD6584CF-9894-4A18-970B-C3B716C5DA71}" srcOrd="0" destOrd="0" presId="urn:microsoft.com/office/officeart/2005/8/layout/chevron1"/>
    <dgm:cxn modelId="{D18F4C9A-4486-4A96-A73D-069484AC56AB}" type="presParOf" srcId="{2A5AA7BD-DB70-47CE-BC5B-09BD32CD3D1F}" destId="{68433540-9C7B-4B5E-B6A0-76E84EB1DFE6}" srcOrd="1" destOrd="0" presId="urn:microsoft.com/office/officeart/2005/8/layout/chevron1"/>
    <dgm:cxn modelId="{A00FA28E-EBD2-4309-A284-7D577CB1C982}" type="presParOf" srcId="{2A5AA7BD-DB70-47CE-BC5B-09BD32CD3D1F}" destId="{295D0557-4760-4158-B47E-B36265C2FC68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34DE8C8-5000-49DF-BF8B-26CADD7D0EA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6555459A-4222-4E75-BB33-B46F7B26C319}">
      <dgm:prSet phldrT="[Текст]" custT="1"/>
      <dgm:spPr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68009" tIns="22670" rIns="22670" bIns="22670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rgbClr val="B64926">
                  <a:lumMod val="50000"/>
                </a:srgbClr>
              </a:solidFill>
              <a:latin typeface="Times New Roman" panose="02020603050405020304" pitchFamily="18" charset="0"/>
              <a:ea typeface="Roboto" panose="02000000000000000000" pitchFamily="2" charset="0"/>
              <a:cs typeface="Roboto" panose="02000000000000000000" pitchFamily="2" charset="0"/>
            </a:rPr>
            <a:t>Перейдите в раздел Сервисы</a:t>
          </a:r>
        </a:p>
      </dgm:t>
    </dgm:pt>
    <dgm:pt modelId="{2A2D9D22-FE23-4ABD-B27B-4CAE96AFFB4D}" type="parTrans" cxnId="{C4E43C22-F0FF-4248-A1B5-7057A49E93CD}">
      <dgm:prSet/>
      <dgm:spPr/>
      <dgm:t>
        <a:bodyPr/>
        <a:lstStyle/>
        <a:p>
          <a:endParaRPr lang="ru-RU"/>
        </a:p>
      </dgm:t>
    </dgm:pt>
    <dgm:pt modelId="{B9912A15-2A2C-40C8-BD7C-43DE38CE7B07}" type="sibTrans" cxnId="{C4E43C22-F0FF-4248-A1B5-7057A49E93CD}">
      <dgm:prSet/>
      <dgm:spPr/>
      <dgm:t>
        <a:bodyPr/>
        <a:lstStyle/>
        <a:p>
          <a:endParaRPr lang="ru-RU"/>
        </a:p>
      </dgm:t>
    </dgm:pt>
    <dgm:pt modelId="{96130820-0EE9-4DD1-9EED-7E4DA622B333}">
      <dgm:prSet phldrT="[Текст]" custT="1"/>
      <dgm:spPr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68009" tIns="22670" rIns="22670" bIns="22670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rgbClr val="B64926">
                  <a:lumMod val="50000"/>
                </a:srgbClr>
              </a:solidFill>
              <a:latin typeface="Times New Roman" panose="02020603050405020304" pitchFamily="18" charset="0"/>
              <a:ea typeface="Roboto" panose="02000000000000000000" pitchFamily="2" charset="0"/>
              <a:cs typeface="Roboto" panose="02000000000000000000" pitchFamily="2" charset="0"/>
            </a:rPr>
            <a:t>Выгрузка отчёта по контрагенту</a:t>
          </a:r>
        </a:p>
      </dgm:t>
    </dgm:pt>
    <dgm:pt modelId="{A6D36DA1-AD92-4853-A101-8DBB014ECCE7}" type="parTrans" cxnId="{1838AFE3-87C5-4858-B3E6-DE2258E2AF4C}">
      <dgm:prSet/>
      <dgm:spPr/>
      <dgm:t>
        <a:bodyPr/>
        <a:lstStyle/>
        <a:p>
          <a:endParaRPr lang="ru-RU"/>
        </a:p>
      </dgm:t>
    </dgm:pt>
    <dgm:pt modelId="{0FA660F9-CD7B-4B51-B04F-D0A6F2785AC6}" type="sibTrans" cxnId="{1838AFE3-87C5-4858-B3E6-DE2258E2AF4C}">
      <dgm:prSet/>
      <dgm:spPr/>
      <dgm:t>
        <a:bodyPr/>
        <a:lstStyle/>
        <a:p>
          <a:endParaRPr lang="ru-RU"/>
        </a:p>
      </dgm:t>
    </dgm:pt>
    <dgm:pt modelId="{2A5AA7BD-DB70-47CE-BC5B-09BD32CD3D1F}" type="pres">
      <dgm:prSet presAssocID="{934DE8C8-5000-49DF-BF8B-26CADD7D0EAA}" presName="Name0" presStyleCnt="0">
        <dgm:presLayoutVars>
          <dgm:dir/>
          <dgm:animLvl val="lvl"/>
          <dgm:resizeHandles val="exact"/>
        </dgm:presLayoutVars>
      </dgm:prSet>
      <dgm:spPr/>
    </dgm:pt>
    <dgm:pt modelId="{DD6584CF-9894-4A18-970B-C3B716C5DA71}" type="pres">
      <dgm:prSet presAssocID="{6555459A-4222-4E75-BB33-B46F7B26C319}" presName="parTxOnly" presStyleLbl="node1" presStyleIdx="0" presStyleCnt="2" custScaleX="157564">
        <dgm:presLayoutVars>
          <dgm:chMax val="0"/>
          <dgm:chPref val="0"/>
          <dgm:bulletEnabled val="1"/>
        </dgm:presLayoutVars>
      </dgm:prSet>
      <dgm:spPr>
        <a:xfrm>
          <a:off x="1438" y="0"/>
          <a:ext cx="5803793" cy="734286"/>
        </a:xfrm>
        <a:prstGeom prst="chevron">
          <a:avLst/>
        </a:prstGeom>
      </dgm:spPr>
    </dgm:pt>
    <dgm:pt modelId="{68433540-9C7B-4B5E-B6A0-76E84EB1DFE6}" type="pres">
      <dgm:prSet presAssocID="{B9912A15-2A2C-40C8-BD7C-43DE38CE7B07}" presName="parTxOnlySpace" presStyleCnt="0"/>
      <dgm:spPr/>
    </dgm:pt>
    <dgm:pt modelId="{295D0557-4760-4158-B47E-B36265C2FC68}" type="pres">
      <dgm:prSet presAssocID="{96130820-0EE9-4DD1-9EED-7E4DA622B333}" presName="parTxOnly" presStyleLbl="node1" presStyleIdx="1" presStyleCnt="2">
        <dgm:presLayoutVars>
          <dgm:chMax val="0"/>
          <dgm:chPref val="0"/>
          <dgm:bulletEnabled val="1"/>
        </dgm:presLayoutVars>
      </dgm:prSet>
      <dgm:spPr>
        <a:xfrm>
          <a:off x="5436886" y="0"/>
          <a:ext cx="3683451" cy="734286"/>
        </a:xfrm>
        <a:prstGeom prst="chevron">
          <a:avLst/>
        </a:prstGeom>
      </dgm:spPr>
    </dgm:pt>
  </dgm:ptLst>
  <dgm:cxnLst>
    <dgm:cxn modelId="{C4E43C22-F0FF-4248-A1B5-7057A49E93CD}" srcId="{934DE8C8-5000-49DF-BF8B-26CADD7D0EAA}" destId="{6555459A-4222-4E75-BB33-B46F7B26C319}" srcOrd="0" destOrd="0" parTransId="{2A2D9D22-FE23-4ABD-B27B-4CAE96AFFB4D}" sibTransId="{B9912A15-2A2C-40C8-BD7C-43DE38CE7B07}"/>
    <dgm:cxn modelId="{43972E42-FACF-4043-89D6-AEB6FBE6170E}" type="presOf" srcId="{6555459A-4222-4E75-BB33-B46F7B26C319}" destId="{DD6584CF-9894-4A18-970B-C3B716C5DA71}" srcOrd="0" destOrd="0" presId="urn:microsoft.com/office/officeart/2005/8/layout/chevron1"/>
    <dgm:cxn modelId="{A57B7AAB-571A-4DD3-A9C8-A0ABE825358D}" type="presOf" srcId="{934DE8C8-5000-49DF-BF8B-26CADD7D0EAA}" destId="{2A5AA7BD-DB70-47CE-BC5B-09BD32CD3D1F}" srcOrd="0" destOrd="0" presId="urn:microsoft.com/office/officeart/2005/8/layout/chevron1"/>
    <dgm:cxn modelId="{B5C044AD-1D5A-4D85-BC96-36FB4F0B7590}" type="presOf" srcId="{96130820-0EE9-4DD1-9EED-7E4DA622B333}" destId="{295D0557-4760-4158-B47E-B36265C2FC68}" srcOrd="0" destOrd="0" presId="urn:microsoft.com/office/officeart/2005/8/layout/chevron1"/>
    <dgm:cxn modelId="{1838AFE3-87C5-4858-B3E6-DE2258E2AF4C}" srcId="{934DE8C8-5000-49DF-BF8B-26CADD7D0EAA}" destId="{96130820-0EE9-4DD1-9EED-7E4DA622B333}" srcOrd="1" destOrd="0" parTransId="{A6D36DA1-AD92-4853-A101-8DBB014ECCE7}" sibTransId="{0FA660F9-CD7B-4B51-B04F-D0A6F2785AC6}"/>
    <dgm:cxn modelId="{70C33E0F-E2DA-4EE1-878B-4A2007771B8D}" type="presParOf" srcId="{2A5AA7BD-DB70-47CE-BC5B-09BD32CD3D1F}" destId="{DD6584CF-9894-4A18-970B-C3B716C5DA71}" srcOrd="0" destOrd="0" presId="urn:microsoft.com/office/officeart/2005/8/layout/chevron1"/>
    <dgm:cxn modelId="{D18F4C9A-4486-4A96-A73D-069484AC56AB}" type="presParOf" srcId="{2A5AA7BD-DB70-47CE-BC5B-09BD32CD3D1F}" destId="{68433540-9C7B-4B5E-B6A0-76E84EB1DFE6}" srcOrd="1" destOrd="0" presId="urn:microsoft.com/office/officeart/2005/8/layout/chevron1"/>
    <dgm:cxn modelId="{A00FA28E-EBD2-4309-A284-7D577CB1C982}" type="presParOf" srcId="{2A5AA7BD-DB70-47CE-BC5B-09BD32CD3D1F}" destId="{295D0557-4760-4158-B47E-B36265C2FC68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34DE8C8-5000-49DF-BF8B-26CADD7D0EA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6555459A-4222-4E75-BB33-B46F7B26C319}">
      <dgm:prSet phldrT="[Текст]" custT="1"/>
      <dgm:spPr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68009" tIns="22670" rIns="22670" bIns="22670" numCol="1" spcCol="1270" anchor="ctr" anchorCtr="0"/>
        <a:lstStyle/>
        <a:p>
          <a:r>
            <a: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Перейдите в раздел поиск технических заданий и введите </a:t>
          </a:r>
          <a:r>
            <a:rPr lang="ru-RU" sz="1400" b="0" i="0" kern="1200" noProof="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наименование</a:t>
          </a:r>
          <a:r>
            <a: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Roboto" panose="02000000000000000000" pitchFamily="2" charset="0"/>
              <a:cs typeface="Roboto" panose="02000000000000000000" pitchFamily="2" charset="0"/>
            </a:rPr>
            <a:t> закупки</a:t>
          </a:r>
          <a:endParaRPr lang="ru-RU" sz="1400" b="0" i="0" kern="1200" dirty="0">
            <a:solidFill>
              <a:schemeClr val="accent3">
                <a:lumMod val="50000"/>
              </a:schemeClr>
            </a:solidFill>
            <a:latin typeface="+mj-lt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2A2D9D22-FE23-4ABD-B27B-4CAE96AFFB4D}" type="parTrans" cxnId="{C4E43C22-F0FF-4248-A1B5-7057A49E93CD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B9912A15-2A2C-40C8-BD7C-43DE38CE7B07}" type="sibTrans" cxnId="{C4E43C22-F0FF-4248-A1B5-7057A49E93CD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96130820-0EE9-4DD1-9EED-7E4DA622B333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kumimoji="0" lang="ru-RU" sz="1200" b="0" i="0" u="none" strike="noStrike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Система автоматически подскажет ОКПД 2</a:t>
          </a:r>
          <a:endParaRPr lang="ru-RU" sz="1200" b="0" i="0" dirty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A6D36DA1-AD92-4853-A101-8DBB014ECCE7}" type="parTrans" cxnId="{1838AFE3-87C5-4858-B3E6-DE2258E2AF4C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0FA660F9-CD7B-4B51-B04F-D0A6F2785AC6}" type="sibTrans" cxnId="{1838AFE3-87C5-4858-B3E6-DE2258E2AF4C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71B31CFC-D386-470D-A24B-77186341C8AE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kumimoji="0" lang="ru-RU" sz="1200" b="0" i="0" u="none" strike="noStrike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Выберите регион закупки</a:t>
          </a:r>
          <a:endParaRPr lang="ru-RU" sz="1200" b="0" i="0" dirty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ACFE40AB-FEC3-4B6C-A50B-0C25D7A9ECA7}" type="parTrans" cxnId="{5E03839A-8848-4C49-AA24-3EA5070465FB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D575077E-9203-4C60-B542-5687D8FB6BEA}" type="sibTrans" cxnId="{5E03839A-8848-4C49-AA24-3EA5070465FB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C1AAF57D-743C-410D-989A-21BFB1E1AC57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kumimoji="0" lang="ru-RU" sz="1200" b="0" i="0" u="none" strike="noStrike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Сохраните пример технического задания или перейдите на</a:t>
          </a:r>
          <a:r>
            <a:rPr kumimoji="0" lang="en-US" sz="1200" b="0" i="0" u="none" strike="noStrike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 </a:t>
          </a:r>
          <a:r>
            <a:rPr kumimoji="0" lang="ru-RU" sz="1200" b="0" i="0" u="none" strike="noStrike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карточку закупки </a:t>
          </a:r>
          <a:endParaRPr lang="ru-RU" sz="1200" b="0" i="0" dirty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4E051F72-29F2-4875-B41B-554C53376014}" type="parTrans" cxnId="{57A82802-A342-474B-968C-40932251D90F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54CAFFD9-ED61-491B-A1AA-779EC1DA3D66}" type="sibTrans" cxnId="{57A82802-A342-474B-968C-40932251D90F}">
      <dgm:prSet/>
      <dgm:spPr/>
      <dgm:t>
        <a:bodyPr/>
        <a:lstStyle/>
        <a:p>
          <a:endParaRPr lang="ru-RU" sz="1200" b="0" i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gm:t>
    </dgm:pt>
    <dgm:pt modelId="{2A5AA7BD-DB70-47CE-BC5B-09BD32CD3D1F}" type="pres">
      <dgm:prSet presAssocID="{934DE8C8-5000-49DF-BF8B-26CADD7D0EAA}" presName="Name0" presStyleCnt="0">
        <dgm:presLayoutVars>
          <dgm:dir/>
          <dgm:animLvl val="lvl"/>
          <dgm:resizeHandles val="exact"/>
        </dgm:presLayoutVars>
      </dgm:prSet>
      <dgm:spPr/>
    </dgm:pt>
    <dgm:pt modelId="{DD6584CF-9894-4A18-970B-C3B716C5DA71}" type="pres">
      <dgm:prSet presAssocID="{6555459A-4222-4E75-BB33-B46F7B26C319}" presName="parTxOnly" presStyleLbl="node1" presStyleIdx="0" presStyleCnt="4" custScaleX="63928">
        <dgm:presLayoutVars>
          <dgm:chMax val="0"/>
          <dgm:chPref val="0"/>
          <dgm:bulletEnabled val="1"/>
        </dgm:presLayoutVars>
      </dgm:prSet>
      <dgm:spPr>
        <a:xfrm>
          <a:off x="2978" y="0"/>
          <a:ext cx="2483571" cy="734350"/>
        </a:xfrm>
        <a:prstGeom prst="chevron">
          <a:avLst/>
        </a:prstGeom>
      </dgm:spPr>
    </dgm:pt>
    <dgm:pt modelId="{68433540-9C7B-4B5E-B6A0-76E84EB1DFE6}" type="pres">
      <dgm:prSet presAssocID="{B9912A15-2A2C-40C8-BD7C-43DE38CE7B07}" presName="parTxOnlySpace" presStyleCnt="0"/>
      <dgm:spPr/>
    </dgm:pt>
    <dgm:pt modelId="{295D0557-4760-4158-B47E-B36265C2FC68}" type="pres">
      <dgm:prSet presAssocID="{96130820-0EE9-4DD1-9EED-7E4DA622B333}" presName="parTxOnly" presStyleLbl="node1" presStyleIdx="1" presStyleCnt="4" custScaleX="63113" custLinFactNeighborX="1673" custLinFactNeighborY="-23441">
        <dgm:presLayoutVars>
          <dgm:chMax val="0"/>
          <dgm:chPref val="0"/>
          <dgm:bulletEnabled val="1"/>
        </dgm:presLayoutVars>
      </dgm:prSet>
      <dgm:spPr/>
    </dgm:pt>
    <dgm:pt modelId="{C225BD9E-7A4E-406D-B6B4-455DBCF3B396}" type="pres">
      <dgm:prSet presAssocID="{0FA660F9-CD7B-4B51-B04F-D0A6F2785AC6}" presName="parTxOnlySpace" presStyleCnt="0"/>
      <dgm:spPr/>
    </dgm:pt>
    <dgm:pt modelId="{39D7DB17-7A78-4788-8E42-E07CD11E6263}" type="pres">
      <dgm:prSet presAssocID="{71B31CFC-D386-470D-A24B-77186341C8AE}" presName="parTxOnly" presStyleLbl="node1" presStyleIdx="2" presStyleCnt="4" custScaleX="51467" custLinFactNeighborX="1673" custLinFactNeighborY="-23441">
        <dgm:presLayoutVars>
          <dgm:chMax val="0"/>
          <dgm:chPref val="0"/>
          <dgm:bulletEnabled val="1"/>
        </dgm:presLayoutVars>
      </dgm:prSet>
      <dgm:spPr/>
    </dgm:pt>
    <dgm:pt modelId="{95F7568C-520F-4590-9439-034BC5822591}" type="pres">
      <dgm:prSet presAssocID="{D575077E-9203-4C60-B542-5687D8FB6BEA}" presName="parTxOnlySpace" presStyleCnt="0"/>
      <dgm:spPr/>
    </dgm:pt>
    <dgm:pt modelId="{BFB59BA0-9222-4473-A433-E7F7A12425DE}" type="pres">
      <dgm:prSet presAssocID="{C1AAF57D-743C-410D-989A-21BFB1E1AC57}" presName="parTxOnly" presStyleLbl="node1" presStyleIdx="3" presStyleCnt="4" custScaleX="85932" custLinFactNeighborX="1673" custLinFactNeighborY="-23441">
        <dgm:presLayoutVars>
          <dgm:chMax val="0"/>
          <dgm:chPref val="0"/>
          <dgm:bulletEnabled val="1"/>
        </dgm:presLayoutVars>
      </dgm:prSet>
      <dgm:spPr/>
    </dgm:pt>
  </dgm:ptLst>
  <dgm:cxnLst>
    <dgm:cxn modelId="{57A82802-A342-474B-968C-40932251D90F}" srcId="{934DE8C8-5000-49DF-BF8B-26CADD7D0EAA}" destId="{C1AAF57D-743C-410D-989A-21BFB1E1AC57}" srcOrd="3" destOrd="0" parTransId="{4E051F72-29F2-4875-B41B-554C53376014}" sibTransId="{54CAFFD9-ED61-491B-A1AA-779EC1DA3D66}"/>
    <dgm:cxn modelId="{851C191B-F596-4BF0-AB4D-C7AC58CA3EBE}" type="presOf" srcId="{934DE8C8-5000-49DF-BF8B-26CADD7D0EAA}" destId="{2A5AA7BD-DB70-47CE-BC5B-09BD32CD3D1F}" srcOrd="0" destOrd="0" presId="urn:microsoft.com/office/officeart/2005/8/layout/chevron1"/>
    <dgm:cxn modelId="{C4E43C22-F0FF-4248-A1B5-7057A49E93CD}" srcId="{934DE8C8-5000-49DF-BF8B-26CADD7D0EAA}" destId="{6555459A-4222-4E75-BB33-B46F7B26C319}" srcOrd="0" destOrd="0" parTransId="{2A2D9D22-FE23-4ABD-B27B-4CAE96AFFB4D}" sibTransId="{B9912A15-2A2C-40C8-BD7C-43DE38CE7B07}"/>
    <dgm:cxn modelId="{20B9E34C-7285-4DB7-8A6D-0A70B710A7D2}" type="presOf" srcId="{C1AAF57D-743C-410D-989A-21BFB1E1AC57}" destId="{BFB59BA0-9222-4473-A433-E7F7A12425DE}" srcOrd="0" destOrd="0" presId="urn:microsoft.com/office/officeart/2005/8/layout/chevron1"/>
    <dgm:cxn modelId="{397FD299-17AE-42AF-85F0-813BD60412A3}" type="presOf" srcId="{96130820-0EE9-4DD1-9EED-7E4DA622B333}" destId="{295D0557-4760-4158-B47E-B36265C2FC68}" srcOrd="0" destOrd="0" presId="urn:microsoft.com/office/officeart/2005/8/layout/chevron1"/>
    <dgm:cxn modelId="{5E03839A-8848-4C49-AA24-3EA5070465FB}" srcId="{934DE8C8-5000-49DF-BF8B-26CADD7D0EAA}" destId="{71B31CFC-D386-470D-A24B-77186341C8AE}" srcOrd="2" destOrd="0" parTransId="{ACFE40AB-FEC3-4B6C-A50B-0C25D7A9ECA7}" sibTransId="{D575077E-9203-4C60-B542-5687D8FB6BEA}"/>
    <dgm:cxn modelId="{621F3DD8-9B7B-4587-B1AB-CC4B286B0A52}" type="presOf" srcId="{71B31CFC-D386-470D-A24B-77186341C8AE}" destId="{39D7DB17-7A78-4788-8E42-E07CD11E6263}" srcOrd="0" destOrd="0" presId="urn:microsoft.com/office/officeart/2005/8/layout/chevron1"/>
    <dgm:cxn modelId="{B4FF26DD-DD2A-491E-982C-13370F76B3F0}" type="presOf" srcId="{6555459A-4222-4E75-BB33-B46F7B26C319}" destId="{DD6584CF-9894-4A18-970B-C3B716C5DA71}" srcOrd="0" destOrd="0" presId="urn:microsoft.com/office/officeart/2005/8/layout/chevron1"/>
    <dgm:cxn modelId="{1838AFE3-87C5-4858-B3E6-DE2258E2AF4C}" srcId="{934DE8C8-5000-49DF-BF8B-26CADD7D0EAA}" destId="{96130820-0EE9-4DD1-9EED-7E4DA622B333}" srcOrd="1" destOrd="0" parTransId="{A6D36DA1-AD92-4853-A101-8DBB014ECCE7}" sibTransId="{0FA660F9-CD7B-4B51-B04F-D0A6F2785AC6}"/>
    <dgm:cxn modelId="{C3BC3CA4-74AD-4164-8604-84E084732BE9}" type="presParOf" srcId="{2A5AA7BD-DB70-47CE-BC5B-09BD32CD3D1F}" destId="{DD6584CF-9894-4A18-970B-C3B716C5DA71}" srcOrd="0" destOrd="0" presId="urn:microsoft.com/office/officeart/2005/8/layout/chevron1"/>
    <dgm:cxn modelId="{72243340-52D3-4DE0-8158-540A72A6DB51}" type="presParOf" srcId="{2A5AA7BD-DB70-47CE-BC5B-09BD32CD3D1F}" destId="{68433540-9C7B-4B5E-B6A0-76E84EB1DFE6}" srcOrd="1" destOrd="0" presId="urn:microsoft.com/office/officeart/2005/8/layout/chevron1"/>
    <dgm:cxn modelId="{651C929A-F5E0-4CC0-8809-3435DC3F4AB4}" type="presParOf" srcId="{2A5AA7BD-DB70-47CE-BC5B-09BD32CD3D1F}" destId="{295D0557-4760-4158-B47E-B36265C2FC68}" srcOrd="2" destOrd="0" presId="urn:microsoft.com/office/officeart/2005/8/layout/chevron1"/>
    <dgm:cxn modelId="{A08A94AE-810F-42A5-B055-4AE881DD30C6}" type="presParOf" srcId="{2A5AA7BD-DB70-47CE-BC5B-09BD32CD3D1F}" destId="{C225BD9E-7A4E-406D-B6B4-455DBCF3B396}" srcOrd="3" destOrd="0" presId="urn:microsoft.com/office/officeart/2005/8/layout/chevron1"/>
    <dgm:cxn modelId="{8E8250DB-A706-4B33-B08F-7955C535CC0C}" type="presParOf" srcId="{2A5AA7BD-DB70-47CE-BC5B-09BD32CD3D1F}" destId="{39D7DB17-7A78-4788-8E42-E07CD11E6263}" srcOrd="4" destOrd="0" presId="urn:microsoft.com/office/officeart/2005/8/layout/chevron1"/>
    <dgm:cxn modelId="{D9011586-A576-4FDE-A087-895751B13ED4}" type="presParOf" srcId="{2A5AA7BD-DB70-47CE-BC5B-09BD32CD3D1F}" destId="{95F7568C-520F-4590-9439-034BC5822591}" srcOrd="5" destOrd="0" presId="urn:microsoft.com/office/officeart/2005/8/layout/chevron1"/>
    <dgm:cxn modelId="{AB92ACEB-7275-4281-BE6D-3F2967D62418}" type="presParOf" srcId="{2A5AA7BD-DB70-47CE-BC5B-09BD32CD3D1F}" destId="{BFB59BA0-9222-4473-A433-E7F7A12425DE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B11570-A4F4-452D-B0F7-F7BB742F7E2C}">
      <dsp:nvSpPr>
        <dsp:cNvPr id="0" name=""/>
        <dsp:cNvSpPr/>
      </dsp:nvSpPr>
      <dsp:spPr>
        <a:xfrm>
          <a:off x="8010" y="0"/>
          <a:ext cx="4788325" cy="734286"/>
        </a:xfrm>
        <a:prstGeom prst="chevron">
          <a:avLst/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Проверка контрагента</a:t>
          </a:r>
        </a:p>
      </dsp:txBody>
      <dsp:txXfrm>
        <a:off x="375153" y="0"/>
        <a:ext cx="4054039" cy="734286"/>
      </dsp:txXfrm>
    </dsp:sp>
    <dsp:sp modelId="{C102DF22-3739-4C7E-A7D2-7EC8001B0613}">
      <dsp:nvSpPr>
        <dsp:cNvPr id="0" name=""/>
        <dsp:cNvSpPr/>
      </dsp:nvSpPr>
      <dsp:spPr>
        <a:xfrm>
          <a:off x="4325512" y="0"/>
          <a:ext cx="4788325" cy="734286"/>
        </a:xfrm>
        <a:prstGeom prst="chevron">
          <a:avLst/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Введите ИНН и нажмите поиск</a:t>
          </a:r>
        </a:p>
      </dsp:txBody>
      <dsp:txXfrm>
        <a:off x="4692655" y="0"/>
        <a:ext cx="4054039" cy="7342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584CF-9894-4A18-970B-C3B716C5DA71}">
      <dsp:nvSpPr>
        <dsp:cNvPr id="0" name=""/>
        <dsp:cNvSpPr/>
      </dsp:nvSpPr>
      <dsp:spPr>
        <a:xfrm>
          <a:off x="1438" y="0"/>
          <a:ext cx="5803793" cy="734286"/>
        </a:xfrm>
        <a:prstGeom prst="chevron">
          <a:avLst/>
        </a:prstGeom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Выполните вход </a:t>
          </a:r>
          <a:r>
            <a:rPr lang="en-US" sz="1800" kern="1200" dirty="0">
              <a:solidFill>
                <a:schemeClr val="accent3">
                  <a:lumMod val="50000"/>
                </a:schemeClr>
              </a:solidFill>
              <a:latin typeface="+mj-lt"/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https://gos.etpgpb.ru/login</a:t>
          </a:r>
          <a:r>
            <a:rPr lang="ru-RU" sz="1800" kern="1200" dirty="0">
              <a:solidFill>
                <a:schemeClr val="accent3">
                  <a:lumMod val="50000"/>
                </a:schemeClr>
              </a:solidFill>
              <a:latin typeface="+mj-lt"/>
            </a:rPr>
            <a:t> </a:t>
          </a:r>
          <a:r>
            <a:rPr lang="ru-RU" sz="1800" b="0" i="0" kern="120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с помощью ЭЦП или по средством логина и пароля</a:t>
          </a:r>
        </a:p>
      </dsp:txBody>
      <dsp:txXfrm>
        <a:off x="368581" y="0"/>
        <a:ext cx="5069507" cy="734286"/>
      </dsp:txXfrm>
    </dsp:sp>
    <dsp:sp modelId="{295D0557-4760-4158-B47E-B36265C2FC68}">
      <dsp:nvSpPr>
        <dsp:cNvPr id="0" name=""/>
        <dsp:cNvSpPr/>
      </dsp:nvSpPr>
      <dsp:spPr>
        <a:xfrm>
          <a:off x="5436886" y="0"/>
          <a:ext cx="3683451" cy="734286"/>
        </a:xfrm>
        <a:prstGeom prst="chevron">
          <a:avLst/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solidFill>
                <a:schemeClr val="accent3">
                  <a:lumMod val="50000"/>
                </a:schemeClr>
              </a:solidFill>
            </a:rPr>
            <a:t>В личном кабинете перейдите в раздел Сервисы</a:t>
          </a:r>
        </a:p>
      </dsp:txBody>
      <dsp:txXfrm>
        <a:off x="5804029" y="0"/>
        <a:ext cx="2949165" cy="7342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584CF-9894-4A18-970B-C3B716C5DA71}">
      <dsp:nvSpPr>
        <dsp:cNvPr id="0" name=""/>
        <dsp:cNvSpPr/>
      </dsp:nvSpPr>
      <dsp:spPr>
        <a:xfrm>
          <a:off x="1438" y="0"/>
          <a:ext cx="5803793" cy="734286"/>
        </a:xfrm>
        <a:prstGeom prst="chevron">
          <a:avLst/>
        </a:prstGeom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rgbClr val="B64926">
                  <a:lumMod val="50000"/>
                </a:srgbClr>
              </a:solidFill>
              <a:latin typeface="Times New Roman" panose="02020603050405020304" pitchFamily="18" charset="0"/>
              <a:ea typeface="Roboto" panose="02000000000000000000" pitchFamily="2" charset="0"/>
              <a:cs typeface="Roboto" panose="02000000000000000000" pitchFamily="2" charset="0"/>
            </a:rPr>
            <a:t>Перейдите в раздел Сервисы</a:t>
          </a:r>
        </a:p>
      </dsp:txBody>
      <dsp:txXfrm>
        <a:off x="368581" y="0"/>
        <a:ext cx="5069507" cy="734286"/>
      </dsp:txXfrm>
    </dsp:sp>
    <dsp:sp modelId="{295D0557-4760-4158-B47E-B36265C2FC68}">
      <dsp:nvSpPr>
        <dsp:cNvPr id="0" name=""/>
        <dsp:cNvSpPr/>
      </dsp:nvSpPr>
      <dsp:spPr>
        <a:xfrm>
          <a:off x="5436886" y="0"/>
          <a:ext cx="3683451" cy="734286"/>
        </a:xfrm>
        <a:prstGeom prst="chevron">
          <a:avLst/>
        </a:prstGeom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rgbClr val="B64926">
                  <a:lumMod val="50000"/>
                </a:srgbClr>
              </a:solidFill>
              <a:latin typeface="Times New Roman" panose="02020603050405020304" pitchFamily="18" charset="0"/>
              <a:ea typeface="Roboto" panose="02000000000000000000" pitchFamily="2" charset="0"/>
              <a:cs typeface="Roboto" panose="02000000000000000000" pitchFamily="2" charset="0"/>
            </a:rPr>
            <a:t>Выгрузка отчёта по контрагенту</a:t>
          </a:r>
        </a:p>
      </dsp:txBody>
      <dsp:txXfrm>
        <a:off x="5804029" y="0"/>
        <a:ext cx="2949165" cy="7342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584CF-9894-4A18-970B-C3B716C5DA71}">
      <dsp:nvSpPr>
        <dsp:cNvPr id="0" name=""/>
        <dsp:cNvSpPr/>
      </dsp:nvSpPr>
      <dsp:spPr>
        <a:xfrm>
          <a:off x="3126" y="0"/>
          <a:ext cx="2606875" cy="734350"/>
        </a:xfrm>
        <a:prstGeom prst="chevron">
          <a:avLst/>
        </a:prstGeom>
        <a:solidFill>
          <a:srgbClr val="B64926">
            <a:lumMod val="20000"/>
            <a:lumOff val="80000"/>
          </a:srgbClr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Перейдите в раздел поиск технических заданий и введите </a:t>
          </a:r>
          <a:r>
            <a:rPr lang="ru-RU" sz="1400" b="0" i="0" kern="1200" noProof="0" dirty="0">
              <a:solidFill>
                <a:schemeClr val="accent3">
                  <a:lumMod val="50000"/>
                </a:schemeClr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rPr>
            <a:t>наименование</a:t>
          </a:r>
          <a:r>
            <a: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Roboto" panose="02000000000000000000" pitchFamily="2" charset="0"/>
              <a:cs typeface="Roboto" panose="02000000000000000000" pitchFamily="2" charset="0"/>
            </a:rPr>
            <a:t> закупки</a:t>
          </a:r>
          <a:endParaRPr lang="ru-RU" sz="1400" b="0" i="0" kern="1200" dirty="0">
            <a:solidFill>
              <a:schemeClr val="accent3">
                <a:lumMod val="50000"/>
              </a:schemeClr>
            </a:solidFill>
            <a:latin typeface="+mj-lt"/>
            <a:ea typeface="Roboto" panose="02000000000000000000" pitchFamily="2" charset="0"/>
            <a:cs typeface="Roboto" panose="02000000000000000000" pitchFamily="2" charset="0"/>
          </a:endParaRPr>
        </a:p>
      </dsp:txBody>
      <dsp:txXfrm>
        <a:off x="370301" y="0"/>
        <a:ext cx="1872525" cy="734350"/>
      </dsp:txXfrm>
    </dsp:sp>
    <dsp:sp modelId="{295D0557-4760-4158-B47E-B36265C2FC68}">
      <dsp:nvSpPr>
        <dsp:cNvPr id="0" name=""/>
        <dsp:cNvSpPr/>
      </dsp:nvSpPr>
      <dsp:spPr>
        <a:xfrm>
          <a:off x="2209041" y="0"/>
          <a:ext cx="2573641" cy="734350"/>
        </a:xfrm>
        <a:prstGeom prst="chevron">
          <a:avLst/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Система автоматически подскажет ОКПД 2</a:t>
          </a:r>
          <a:endParaRPr lang="ru-RU" sz="1200" b="0" i="0" kern="1200" dirty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sp:txBody>
      <dsp:txXfrm>
        <a:off x="2576216" y="0"/>
        <a:ext cx="1839291" cy="734350"/>
      </dsp:txXfrm>
    </dsp:sp>
    <dsp:sp modelId="{39D7DB17-7A78-4788-8E42-E07CD11E6263}">
      <dsp:nvSpPr>
        <dsp:cNvPr id="0" name=""/>
        <dsp:cNvSpPr/>
      </dsp:nvSpPr>
      <dsp:spPr>
        <a:xfrm>
          <a:off x="4374899" y="0"/>
          <a:ext cx="2098736" cy="734350"/>
        </a:xfrm>
        <a:prstGeom prst="chevron">
          <a:avLst/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Выберите регион закупки</a:t>
          </a:r>
          <a:endParaRPr lang="ru-RU" sz="1200" b="0" i="0" kern="1200" dirty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sp:txBody>
      <dsp:txXfrm>
        <a:off x="4742074" y="0"/>
        <a:ext cx="1364386" cy="734350"/>
      </dsp:txXfrm>
    </dsp:sp>
    <dsp:sp modelId="{BFB59BA0-9222-4473-A433-E7F7A12425DE}">
      <dsp:nvSpPr>
        <dsp:cNvPr id="0" name=""/>
        <dsp:cNvSpPr/>
      </dsp:nvSpPr>
      <dsp:spPr>
        <a:xfrm>
          <a:off x="6062157" y="0"/>
          <a:ext cx="3504161" cy="734350"/>
        </a:xfrm>
        <a:prstGeom prst="chevron">
          <a:avLst/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Сохраните пример технического задания или перейдите на</a:t>
          </a:r>
          <a:r>
            <a: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 </a:t>
          </a:r>
          <a:r>
            <a: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rPr>
            <a:t>карточку закупки </a:t>
          </a:r>
          <a:endParaRPr lang="ru-RU" sz="1200" b="0" i="0" kern="1200" dirty="0">
            <a:solidFill>
              <a:schemeClr val="accent3">
                <a:lumMod val="50000"/>
              </a:schemeClr>
            </a:solidFill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endParaRPr>
        </a:p>
      </dsp:txBody>
      <dsp:txXfrm>
        <a:off x="6429332" y="0"/>
        <a:ext cx="2769811" cy="7343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4-17T08:22:22.711"/>
    </inkml:context>
    <inkml:brush xml:id="br0">
      <inkml:brushProperty name="width" value="0.08819" units="cm"/>
      <inkml:brushProperty name="height" value="0.08819" units="cm"/>
      <inkml:brushProperty name="color" value="#E74C04"/>
    </inkml:brush>
  </inkml:definitions>
  <inkml:trace contextRef="#ctx0" brushRef="#br0">1760 60 11482,'-42'-2'658,"-3"1"-622,-9 0 463,-6 4 146,0 1 1,-6 3-431,-6 3 1,-2 0-91,0 1 0,1 1-89,2 1 0,5 0-976,-11 9 926,18-2 0,-1 2 14,14-4 0,-3 2-16,-18 12 0,-8 6 1,7-3 15,13-4 0,1 0 0,-1 2 0,-4 3 0,8-2-19,13-6 1,4 3-107,-10 25 1,5 3 61,17-23 0,3 3-33,4 15 0,3 8 0,8-9 87,17 19 125,12-6 1,8-3 118,21-11-24,2-22 1,14 1 0,-4-6-169,-1-6 1,1-4-44,8 1 0,6 0 0,-4-4-810,2-6 0,1-5 675,-2-2 1,6-3 0,-3-1 44,-19 1 1,-2-1-1,7-3 83,2-4 1,8-3 0,4-2 0,-3 0 0,-10 0 26,-4 1 1,-8 0 0,7-7 71,-1-3 1,9-7 0,5-4 0,-2-1 0,-6 1 0,-11 5-92,-3-2 0,-10 2 0,3-4-638,12-7 0,5-7 0,-2 0 0,-13 5 663,-8-3 1,-8 1-8,7-21 1,-4-1 78,-12 19 0,-4-2 209,1-25 0,-10 2 3,-23 2-236,-21 23 1,-12 7-186,7 21 0,-8 8-17,-17 6 0,-14 4 0,-5 5 0,9 1-354,6 3 1,6 3-1,-7 2 310,6-1 1,-7 2 0,-3 1 0,3 1 0,5 1-162,-11 7 1,6 1 0,-5 4-803,14-4 1,-5 3 0,-1 1-1,1 0 1,4-1 1134,-1-1 0,3 0 0,2 0 0,-1 0 0,-18 8 0,1 0 0,11-4 0,21-9 0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4-17T08:22:35.561"/>
    </inkml:context>
    <inkml:brush xml:id="br0">
      <inkml:brushProperty name="width" value="0.08819" units="cm"/>
      <inkml:brushProperty name="height" value="0.08819" units="cm"/>
      <inkml:brushProperty name="color" value="#E74C04"/>
    </inkml:brush>
  </inkml:definitions>
  <inkml:trace contextRef="#ctx0" brushRef="#br0">1761 192 11698,'-47'-16'708,"2"2"-708,8 7-1605,-2 0 1605,-5 2-563,0 1 563,-3 0 624,11 0 1,-2 0-434,-21-3-88,19 2 1,-1 1-78,12 1 1,-2 1 126,-10 2 0,-4 0 0,2 0-113,1 2 1,-3 1 6,-4 1 1,-9 2 0,0 1 0,8 0-685,0 2 1,0 2 705,5-2 0,-6 2 1,1 1-1,7-1-20,0 0 0,2 2-641,-6 4 0,-5 3 0,8-2 502,12-3 1,2 1-1,-5 9 1,-2 5-1,7-3-517,1 14 535,9-8 1,3 0 71,11 4 98,11 15 36,10-13 195,19 2 1,7-1-330,-12-18 0,1-2-15,4 1 0,3 2 0,-1-3 130,2-4 0,3-1-183,-2-4 1,7 2 0,1-1 0,-4-2 555,-4 0 1,-2-1 0,5 1-483,8 0 0,10 0 0,2 1 1,-2-1-1,-8-2-569,-6-3 0,-6 0 1,4-1 575,4 1 0,6 0 1,-2-1-1,-5-1-13,7-1 0,-1-3-391,-7-2 0,4-4 1,2 0-1,-6 1 462,-4 1 0,-3 0 0,4-3-236,7-3 0,7-3 1,2-2-1,-3 0 1,-8 2 181,10-5 0,-3-2-155,-13 6 1,3-2-1,0-1 1,-6 2 137,3-3 0,-2-2 11,3-4 0,2-4 1,-3 2 10,-4 2 0,-1-3 135,4-10 0,2-6 1,-10 3-60,-6-14 369,-24-8 0,-13-1-705,-23 8-148,1 21 1,-8-3-1,1 6 215,-3 8 1,-4 5-561,2 3 0,-7 0 1,-1 2-1,3 3-220,1 2 0,3 2 0,-3 2 951,-2 0 0,-4 0 0,1 1 0,8 1 0,0 1 0,5 2 0,5 0 0,-1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4-17T08:22:48.666"/>
    </inkml:context>
    <inkml:brush xml:id="br0">
      <inkml:brushProperty name="width" value="0.08819" units="cm"/>
      <inkml:brushProperty name="height" value="0.08819" units="cm"/>
      <inkml:brushProperty name="color" value="#E74C04"/>
    </inkml:brush>
  </inkml:definitions>
  <inkml:trace contextRef="#ctx0" brushRef="#br0">1736 366 7050,'-12'-8'2133,"1"1"-1730,3 2 71,0 0-130,-1 0 3,-1 0 9,1-1-166,-1 0 398,-5-3-42,-2-3-339,0 0 519,-14-9-724,12 9 260,-24-11-128,17 12 17,-30-6-151,17 7-14,-14 2 0,-4 0 36,24 5 1,-1 0-1,-22 0 1,-1 0 21,22 2 1,-1 1-1270,-20 2 0,-2 2 1225,15-2 0,-4 2 126,-5 4 1,-8 2 0,-2 2 0,10-2-95,-1 0 0,2 2-33,-2 2 0,-9 3 1,2 1-1,12-3-639,13-1 1,4 0 583,-17 7 0,4 1-34,10 2-215,-8 24 170,22-16 9,-4 16 82,24-21 307,20 13-258,2-7-91,14-4 0,12 3 1,-3-3 565,-7-7 1,3-1-705,1-1 0,10 2 0,3 1 0,-1-1 0,-8-5 88,15 3 0,-2-4 79,-12-3 0,4 2 1,0-1-1,-5-3-79,9 1 1,0-3 141,-7-3 0,5-2 0,0-1 1,-4 0-6,15-1 0,0-3 110,-8-1 1,7-3-1,-1-1 1,-8-1-108,0-5 0,-4-3 44,-7 2 1,2-2 0,-3 1-19,1-3 1,0-2-17,4-6 0,4-5 0,-4 2-14,-3 2 0,0-4-16,-4-1 1,4-8 0,-2 0 0,-9 4 51,-6 2 0,-6-3 15,1-8 1,-1-5-1,-8 4 2,-11 10 0,-9 1 23,-11-9 0,-10-3 0,-2 5-423,1 9 1,-7 5 239,-10 3 1,-12-1-1,-2 3 1,6 5 61,-6 5 0,-1 6-501,-4 1 0,-6 2 1,6 3 545,7 5 0,2 5 9,5 1 0,-2 3 1,3 0 220,-5 2 1,0 3-231,-6 7 0,-5 3 0,11-4 0,-3 3 0,17-5 0,0 0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9-04-17T08:23:00.652"/>
    </inkml:context>
    <inkml:brush xml:id="br0">
      <inkml:brushProperty name="width" value="0.08819" units="cm"/>
      <inkml:brushProperty name="height" value="0.08819" units="cm"/>
      <inkml:brushProperty name="color" value="#E74C04"/>
    </inkml:brush>
  </inkml:definitions>
  <inkml:trace contextRef="#ctx0" brushRef="#br0">528 145 12568,'7'-7'-492,"4"0"486,4 0 12,8-1 167,7-3-1060,6-1 1086,7-2 92,5 0 201,-7 4 0,2 0-175,-8 3 1,1 0-143,12-2 0,3 1-1268,10 2 0,-1 3 1142,-14-1 0,5 3 25,7 5 0,11 3 1,2 2-1,-10-2-70,1 2 0,1 2 18,-9 1 1,9 3-1,3 2 1,-4 0-1,-11-2-22,4 4 0,-4 2-6,2 0 1,4 2-1,-8-2 2,-10-2 0,-2 3-28,1 4 0,3 4 1,-4-2 31,-3 0 0,-1 0 1,16 17 1,-5-1-8,-14 2 76,-16-6 0,-5 2 0,-6 9-540,-12-1 0,-8-3 549,-21-3 93,1-19 0,-11 1 0,-4 0 1,6-4-134,-9 1 0,-1-2-39,6-3 0,-7 2 0,0-1 0,5-4 0,-9-1 0,-3-4 141,6-1 1,-9 0-1,0-1 1,5 0-24,8-2 1,4 0-1,-8-1-63,6-2 0,-8 1 0,-3-1 0,0 0 0,4-2 1,8 0-559,1-2 1,7-1-1,-4-2 531,-3 1 0,-5-1 0,1-1 0,7-1 29,-4-4 1,3-4-64,-5-5 1,-5-5 0,5 1 31,3 1 1,1-1-5,0-1 1,-2-3 0,7 2-23,12 4 0,3-1-18,-15-16 0,2-2 16,17 17 1,3-2-142,-12-24 0,11 1 15,29 8 55,19 9 0,14-2 0,1 5 334,3 5 1,4 3-359,7-2 1,5-2 0,-2 4-71,6 3 1,-1 4 16,-19 5 1,2-1 0,3 2-272,4 0 1,4 1-1,0 1 1,-2 0-28,4 0 1,-2 1 0,6 0-494,-4 1 0,7 0 0,3 0 1,-3 1-1,-7 0 941,4 0 0,-6 2 0,-1-1 0,5 0 0,0 0 0,-10 0 0,9 1 0</inkml:trace>
</inkml:ink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://www.protown.ru/netcat_files/Image/gerb_chit.gif" TargetMode="External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://www.protown.ru/netcat_files/Image/gerb_chit.gif" TargetMode="Externa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://www.protown.ru/netcat_files/Image/gerb_chit.gif" TargetMode="External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0911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114808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8366BD-BEC4-4C54-98D1-FD9C203D4B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FEE37C1-C1BE-48E9-BA88-BF50FC0E33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18DB9A1-D09C-40DD-9E89-4B8C9D556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C0D6B-1A23-47F4-93F0-B77DFF19DBDF}" type="datetimeFigureOut">
              <a:rPr lang="ru-RU" smtClean="0"/>
              <a:t>28.07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C795C4-D72C-4C51-B8EB-D38D44281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DA06820-AA7C-4F81-A7D6-D70D0DAF1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5839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2FD67B-36D7-43D3-BEFF-5DD9F04B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83AC276-5B34-41D9-931E-E9143BBF70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BC788EE-1201-4310-9399-D82915A95D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F4578E2-7801-40A8-9AE3-3FDEC8A0B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C0D6B-1A23-47F4-93F0-B77DFF19DBDF}" type="datetimeFigureOut">
              <a:rPr lang="ru-RU" smtClean="0"/>
              <a:t>28.07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CF581DB-F4B5-449A-A28B-943413501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9738BDF-8AFD-4221-BD4C-8F3695A83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46545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FDF3A-8EF2-4D3F-B688-35995FA0F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287B580-D7E3-427B-80CC-7E5B64E5D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4DD386-8C42-4EB0-B6A8-BB87909F55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C0D6B-1A23-47F4-93F0-B77DFF19DBDF}" type="datetimeFigureOut">
              <a:rPr lang="ru-RU" smtClean="0"/>
              <a:t>28.07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8D6133-6E04-4BD3-B4BD-29A01889F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A30105F-766C-4465-8372-D4FEFB09B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2206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68967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340" y="836712"/>
            <a:ext cx="5856651" cy="5760640"/>
          </a:xfrm>
        </p:spPr>
        <p:txBody>
          <a:bodyPr/>
          <a:lstStyle>
            <a:lvl1pPr>
              <a:defRPr sz="2786"/>
            </a:lvl1pPr>
            <a:lvl2pPr>
              <a:defRPr sz="2429"/>
            </a:lvl2pPr>
            <a:lvl3pPr>
              <a:defRPr sz="2000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0" y="836712"/>
            <a:ext cx="5952661" cy="5760640"/>
          </a:xfrm>
        </p:spPr>
        <p:txBody>
          <a:bodyPr/>
          <a:lstStyle>
            <a:lvl1pPr>
              <a:defRPr sz="2786"/>
            </a:lvl1pPr>
            <a:lvl2pPr>
              <a:defRPr sz="2429"/>
            </a:lvl2pPr>
            <a:lvl3pPr>
              <a:defRPr sz="2000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280C3-F257-4A6E-B028-02333E3AAC2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15120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50F7C4-4EF2-40B8-903E-7BEA78B0C1D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4487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A57EE9-0CA4-49C3-8275-90CBC9F6222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887620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70"/>
            <a:ext cx="9696474" cy="790489"/>
          </a:xfrm>
        </p:spPr>
        <p:txBody>
          <a:bodyPr>
            <a:normAutofit/>
          </a:bodyPr>
          <a:lstStyle>
            <a:lvl1pPr>
              <a:defRPr sz="1857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73368" y="1366718"/>
            <a:ext cx="4911860" cy="2743813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929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86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86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86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86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8"/>
            <a:ext cx="2743200" cy="365125"/>
          </a:xfrm>
        </p:spPr>
        <p:txBody>
          <a:bodyPr lIns="128016" tIns="64008" rIns="128016" bIns="64008"/>
          <a:lstStyle/>
          <a:p>
            <a:pPr defTabSz="914418"/>
            <a:endParaRPr lang="ru-RU" sz="1786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8"/>
            <a:ext cx="4114800" cy="365125"/>
          </a:xfrm>
        </p:spPr>
        <p:txBody>
          <a:bodyPr lIns="128016" tIns="64008" rIns="128016" bIns="64008"/>
          <a:lstStyle/>
          <a:p>
            <a:pPr defTabSz="914418"/>
            <a:endParaRPr lang="ru-RU" sz="1786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73369" y="993603"/>
            <a:ext cx="4911861" cy="345146"/>
          </a:xfrm>
        </p:spPr>
        <p:txBody>
          <a:bodyPr tIns="126000" anchor="ctr">
            <a:noAutofit/>
          </a:bodyPr>
          <a:lstStyle>
            <a:lvl1pPr marL="0" indent="0" algn="l">
              <a:buNone/>
              <a:defRPr sz="1286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49" indent="0" algn="ctr">
              <a:buNone/>
              <a:defRPr sz="1857"/>
            </a:lvl2pPr>
            <a:lvl3pPr marL="844100" indent="0" algn="ctr">
              <a:buNone/>
              <a:defRPr sz="1643"/>
            </a:lvl3pPr>
            <a:lvl4pPr marL="1266150" indent="0" algn="ctr">
              <a:buNone/>
              <a:defRPr sz="1500"/>
            </a:lvl4pPr>
            <a:lvl5pPr marL="1688199" indent="0" algn="ctr">
              <a:buNone/>
              <a:defRPr sz="1500"/>
            </a:lvl5pPr>
            <a:lvl6pPr marL="2110249" indent="0" algn="ctr">
              <a:buNone/>
              <a:defRPr sz="1500"/>
            </a:lvl6pPr>
            <a:lvl7pPr marL="2532299" indent="0" algn="ctr">
              <a:buNone/>
              <a:defRPr sz="1500"/>
            </a:lvl7pPr>
            <a:lvl8pPr marL="2954348" indent="0" algn="ctr">
              <a:buNone/>
              <a:defRPr sz="1500"/>
            </a:lvl8pPr>
            <a:lvl9pPr marL="3376398" indent="0" algn="ctr">
              <a:buNone/>
              <a:defRPr sz="1500"/>
            </a:lvl9pPr>
          </a:lstStyle>
          <a:p>
            <a:r>
              <a:rPr lang="ru-RU"/>
              <a:t>Подзаголовок</a:t>
            </a:r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>
            <a:normAutofit/>
          </a:bodyPr>
          <a:lstStyle>
            <a:lvl1pPr marL="0" indent="0">
              <a:buNone/>
              <a:defRPr sz="1143"/>
            </a:lvl1pPr>
            <a:lvl2pPr>
              <a:defRPr sz="2571"/>
            </a:lvl2pPr>
            <a:lvl3pPr>
              <a:defRPr sz="2214"/>
            </a:lvl3pPr>
            <a:lvl4pPr>
              <a:defRPr sz="1857"/>
            </a:lvl4pPr>
            <a:lvl5pPr>
              <a:defRPr sz="1857"/>
            </a:lvl5pPr>
            <a:lvl6pPr>
              <a:defRPr sz="1857"/>
            </a:lvl6pPr>
            <a:lvl7pPr>
              <a:defRPr sz="1857"/>
            </a:lvl7pPr>
            <a:lvl8pPr>
              <a:defRPr sz="1857"/>
            </a:lvl8pPr>
            <a:lvl9pPr>
              <a:defRPr sz="185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6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29"/>
            </a:lvl1pPr>
            <a:lvl2pPr>
              <a:defRPr sz="2571"/>
            </a:lvl2pPr>
            <a:lvl3pPr>
              <a:defRPr sz="2214"/>
            </a:lvl3pPr>
            <a:lvl4pPr>
              <a:defRPr sz="1857"/>
            </a:lvl4pPr>
            <a:lvl5pPr>
              <a:defRPr sz="1857"/>
            </a:lvl5pPr>
            <a:lvl6pPr>
              <a:defRPr sz="1857"/>
            </a:lvl6pPr>
            <a:lvl7pPr>
              <a:defRPr sz="1857"/>
            </a:lvl7pPr>
            <a:lvl8pPr>
              <a:defRPr sz="1857"/>
            </a:lvl8pPr>
            <a:lvl9pPr>
              <a:defRPr sz="185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3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29"/>
            </a:lvl1pPr>
            <a:lvl2pPr>
              <a:defRPr sz="2571"/>
            </a:lvl2pPr>
            <a:lvl3pPr>
              <a:defRPr sz="2214"/>
            </a:lvl3pPr>
            <a:lvl4pPr>
              <a:defRPr sz="1857"/>
            </a:lvl4pPr>
            <a:lvl5pPr>
              <a:defRPr sz="1857"/>
            </a:lvl5pPr>
            <a:lvl6pPr>
              <a:defRPr sz="1857"/>
            </a:lvl6pPr>
            <a:lvl7pPr>
              <a:defRPr sz="1857"/>
            </a:lvl7pPr>
            <a:lvl8pPr>
              <a:defRPr sz="1857"/>
            </a:lvl8pPr>
            <a:lvl9pPr>
              <a:defRPr sz="185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9" descr="Картинка 1 из 968">
            <a:hlinkClick r:id="rId2"/>
            <a:extLst>
              <a:ext uri="{FF2B5EF4-FFF2-40B4-BE49-F238E27FC236}">
                <a16:creationId xmlns:a16="http://schemas.microsoft.com/office/drawing/2014/main" id="{87200A93-A39B-D54D-A3AB-7AAB72FD3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13026" y="-33485"/>
            <a:ext cx="972203" cy="10194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25908853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477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10892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339" y="836712"/>
            <a:ext cx="5856651" cy="57606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0" y="836712"/>
            <a:ext cx="5952661" cy="57606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280C3-F257-4A6E-B028-02333E3AAC2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576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50F7C4-4EF2-40B8-903E-7BEA78B0C1D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2525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A57EE9-0CA4-49C3-8275-90CBC9F6222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1159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8" y="97869"/>
            <a:ext cx="9696474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73367" y="1366718"/>
            <a:ext cx="4911860" cy="2743813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92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pPr defTabSz="914418"/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pPr defTabSz="914418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5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73368" y="993603"/>
            <a:ext cx="4911861" cy="345146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292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49" indent="0" algn="ctr">
              <a:buNone/>
              <a:defRPr sz="1846"/>
            </a:lvl2pPr>
            <a:lvl3pPr marL="844100" indent="0" algn="ctr">
              <a:buNone/>
              <a:defRPr sz="1662"/>
            </a:lvl3pPr>
            <a:lvl4pPr marL="1266150" indent="0" algn="ctr">
              <a:buNone/>
              <a:defRPr sz="1477"/>
            </a:lvl4pPr>
            <a:lvl5pPr marL="1688199" indent="0" algn="ctr">
              <a:buNone/>
              <a:defRPr sz="1477"/>
            </a:lvl5pPr>
            <a:lvl6pPr marL="2110249" indent="0" algn="ctr">
              <a:buNone/>
              <a:defRPr sz="1477"/>
            </a:lvl6pPr>
            <a:lvl7pPr marL="2532299" indent="0" algn="ctr">
              <a:buNone/>
              <a:defRPr sz="1477"/>
            </a:lvl7pPr>
            <a:lvl8pPr marL="2954348" indent="0" algn="ctr">
              <a:buNone/>
              <a:defRPr sz="1477"/>
            </a:lvl8pPr>
            <a:lvl9pPr marL="3376398" indent="0" algn="ctr">
              <a:buNone/>
              <a:defRPr sz="1477"/>
            </a:lvl9pPr>
          </a:lstStyle>
          <a:p>
            <a:r>
              <a:rPr lang="ru-RU"/>
              <a:t>Подзаголовок</a:t>
            </a:r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>
            <a:normAutofit/>
          </a:bodyPr>
          <a:lstStyle>
            <a:lvl1pPr marL="0" indent="0">
              <a:buNone/>
              <a:defRPr sz="1108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6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3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9" descr="Картинка 1 из 968">
            <a:hlinkClick r:id="rId2"/>
            <a:extLst>
              <a:ext uri="{FF2B5EF4-FFF2-40B4-BE49-F238E27FC236}">
                <a16:creationId xmlns:a16="http://schemas.microsoft.com/office/drawing/2014/main" id="{87200A93-A39B-D54D-A3AB-7AAB72FD3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13025" y="-33485"/>
            <a:ext cx="972203" cy="10194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4305984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3758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339" y="836712"/>
            <a:ext cx="5856651" cy="57606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0" y="836712"/>
            <a:ext cx="5952661" cy="57606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280C3-F257-4A6E-B028-02333E3AAC2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186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50F7C4-4EF2-40B8-903E-7BEA78B0C1D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725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A57EE9-0CA4-49C3-8275-90CBC9F6222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6603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8" y="97869"/>
            <a:ext cx="9696474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73367" y="1366718"/>
            <a:ext cx="4911860" cy="2743813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92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pPr defTabSz="914418"/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pPr defTabSz="914418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5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73368" y="993603"/>
            <a:ext cx="4911861" cy="345146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292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49" indent="0" algn="ctr">
              <a:buNone/>
              <a:defRPr sz="1846"/>
            </a:lvl2pPr>
            <a:lvl3pPr marL="844100" indent="0" algn="ctr">
              <a:buNone/>
              <a:defRPr sz="1662"/>
            </a:lvl3pPr>
            <a:lvl4pPr marL="1266150" indent="0" algn="ctr">
              <a:buNone/>
              <a:defRPr sz="1477"/>
            </a:lvl4pPr>
            <a:lvl5pPr marL="1688199" indent="0" algn="ctr">
              <a:buNone/>
              <a:defRPr sz="1477"/>
            </a:lvl5pPr>
            <a:lvl6pPr marL="2110249" indent="0" algn="ctr">
              <a:buNone/>
              <a:defRPr sz="1477"/>
            </a:lvl6pPr>
            <a:lvl7pPr marL="2532299" indent="0" algn="ctr">
              <a:buNone/>
              <a:defRPr sz="1477"/>
            </a:lvl7pPr>
            <a:lvl8pPr marL="2954348" indent="0" algn="ctr">
              <a:buNone/>
              <a:defRPr sz="1477"/>
            </a:lvl8pPr>
            <a:lvl9pPr marL="3376398" indent="0" algn="ctr">
              <a:buNone/>
              <a:defRPr sz="1477"/>
            </a:lvl9pPr>
          </a:lstStyle>
          <a:p>
            <a:r>
              <a:rPr lang="ru-RU"/>
              <a:t>Подзаголовок</a:t>
            </a:r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>
            <a:normAutofit/>
          </a:bodyPr>
          <a:lstStyle>
            <a:lvl1pPr marL="0" indent="0">
              <a:buNone/>
              <a:defRPr sz="1108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6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3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9" descr="Картинка 1 из 968">
            <a:hlinkClick r:id="rId2"/>
            <a:extLst>
              <a:ext uri="{FF2B5EF4-FFF2-40B4-BE49-F238E27FC236}">
                <a16:creationId xmlns:a16="http://schemas.microsoft.com/office/drawing/2014/main" id="{87200A93-A39B-D54D-A3AB-7AAB72FD3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13025" y="-33485"/>
            <a:ext cx="972203" cy="10194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067936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045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8"/>
          <a:ext cx="1512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8"/>
                        <a:ext cx="1512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42" y="97873"/>
            <a:ext cx="9696474" cy="790489"/>
          </a:xfrm>
        </p:spPr>
        <p:txBody>
          <a:bodyPr>
            <a:normAutofit/>
          </a:bodyPr>
          <a:lstStyle>
            <a:lvl1pPr>
              <a:defRPr sz="213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0" y="1247688"/>
            <a:ext cx="11181332" cy="5168485"/>
          </a:xfrm>
          <a:prstGeom prst="rect">
            <a:avLst/>
          </a:prstGeom>
        </p:spPr>
        <p:txBody>
          <a:bodyPr>
            <a:normAutofit/>
          </a:bodyPr>
          <a:lstStyle>
            <a:lvl1pPr marL="197090" indent="-197090">
              <a:buClr>
                <a:srgbClr val="830051"/>
              </a:buCl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  <a:prstGeom prst="rect">
            <a:avLst/>
          </a:prstGeom>
        </p:spPr>
        <p:txBody>
          <a:bodyPr/>
          <a:lstStyle/>
          <a:p>
            <a:fld id="{811C0D6B-1A23-47F4-93F0-B77DFF19DBDF}" type="datetimeFigureOut">
              <a:rPr lang="ru-RU" smtClean="0"/>
              <a:t>28.07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0" y="6457427"/>
            <a:ext cx="629172" cy="282625"/>
          </a:xfrm>
        </p:spPr>
        <p:txBody>
          <a:bodyPr/>
          <a:lstStyle/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525894" y="922945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2"/>
            <a:ext cx="840000" cy="749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21159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8366BD-BEC4-4C54-98D1-FD9C203D4B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FEE37C1-C1BE-48E9-BA88-BF50FC0E33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18DB9A1-D09C-40DD-9E89-4B8C9D556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C0D6B-1A23-47F4-93F0-B77DFF19DBDF}" type="datetimeFigureOut">
              <a:rPr lang="ru-RU" smtClean="0"/>
              <a:t>28.07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C795C4-D72C-4C51-B8EB-D38D442812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DA06820-AA7C-4F81-A7D6-D70D0DAF1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86417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2FD67B-36D7-43D3-BEFF-5DD9F04B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83AC276-5B34-41D9-931E-E9143BBF70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BC788EE-1201-4310-9399-D82915A95D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F4578E2-7801-40A8-9AE3-3FDEC8A0B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C0D6B-1A23-47F4-93F0-B77DFF19DBDF}" type="datetimeFigureOut">
              <a:rPr lang="ru-RU" smtClean="0"/>
              <a:t>28.07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CF581DB-F4B5-449A-A28B-943413501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9738BDF-8AFD-4221-BD4C-8F3695A83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99218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FFDF3A-8EF2-4D3F-B688-35995FA0F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287B580-D7E3-427B-80CC-7E5B64E5D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4DD386-8C42-4EB0-B6A8-BB87909F55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C0D6B-1A23-47F4-93F0-B77DFF19DBDF}" type="datetimeFigureOut">
              <a:rPr lang="ru-RU" smtClean="0"/>
              <a:t>28.07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8D6133-6E04-4BD3-B4BD-29A01889F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A30105F-766C-4465-8372-D4FEFB09B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516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7">
            <a:extLst>
              <a:ext uri="{FF2B5EF4-FFF2-40B4-BE49-F238E27FC236}">
                <a16:creationId xmlns:a16="http://schemas.microsoft.com/office/drawing/2014/main" id="{DE9F6064-D0DF-7640-BF2F-471808F94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369" y="323850"/>
            <a:ext cx="11217031" cy="130492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lnSpc>
                <a:spcPct val="90000"/>
              </a:lnSpc>
              <a:defRPr sz="3600" b="1" i="0">
                <a:solidFill>
                  <a:schemeClr val="accent6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  <p:sp>
        <p:nvSpPr>
          <p:cNvPr id="16" name="Номер слайда 14"/>
          <p:cNvSpPr txBox="1">
            <a:spLocks/>
          </p:cNvSpPr>
          <p:nvPr userDrawn="1"/>
        </p:nvSpPr>
        <p:spPr>
          <a:xfrm>
            <a:off x="0" y="6498000"/>
            <a:ext cx="12192000" cy="360000"/>
          </a:xfrm>
          <a:prstGeom prst="rect">
            <a:avLst/>
          </a:prstGeom>
          <a:solidFill>
            <a:schemeClr val="tx2"/>
          </a:solidFill>
        </p:spPr>
        <p:txBody>
          <a:bodyPr vert="horz" lIns="0" tIns="0" rIns="0" bIns="0" rtlCol="0" anchor="ctr"/>
          <a:lstStyle>
            <a:defPPr>
              <a:defRPr lang="ru-RU"/>
            </a:defPPr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uk-UA" sz="1200" dirty="0">
              <a:solidFill>
                <a:schemeClr val="accent5"/>
              </a:solidFill>
            </a:endParaRPr>
          </a:p>
        </p:txBody>
      </p:sp>
      <p:sp>
        <p:nvSpPr>
          <p:cNvPr id="17" name="Фигура"/>
          <p:cNvSpPr>
            <a:spLocks noChangeAspect="1"/>
          </p:cNvSpPr>
          <p:nvPr userDrawn="1"/>
        </p:nvSpPr>
        <p:spPr>
          <a:xfrm>
            <a:off x="492369" y="6574822"/>
            <a:ext cx="945662" cy="2007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824" y="0"/>
                </a:moveTo>
                <a:cubicBezTo>
                  <a:pt x="1265" y="1"/>
                  <a:pt x="0" y="4840"/>
                  <a:pt x="0" y="10806"/>
                </a:cubicBezTo>
                <a:cubicBezTo>
                  <a:pt x="0" y="16771"/>
                  <a:pt x="1265" y="21599"/>
                  <a:pt x="2824" y="21600"/>
                </a:cubicBezTo>
                <a:cubicBezTo>
                  <a:pt x="4382" y="21599"/>
                  <a:pt x="5644" y="16771"/>
                  <a:pt x="5644" y="10806"/>
                </a:cubicBezTo>
                <a:cubicBezTo>
                  <a:pt x="5644" y="4840"/>
                  <a:pt x="4382" y="1"/>
                  <a:pt x="2824" y="0"/>
                </a:cubicBezTo>
                <a:close/>
                <a:moveTo>
                  <a:pt x="2824" y="457"/>
                </a:moveTo>
                <a:cubicBezTo>
                  <a:pt x="4317" y="467"/>
                  <a:pt x="5525" y="5090"/>
                  <a:pt x="5528" y="10806"/>
                </a:cubicBezTo>
                <a:cubicBezTo>
                  <a:pt x="5525" y="16522"/>
                  <a:pt x="4317" y="21144"/>
                  <a:pt x="2824" y="21154"/>
                </a:cubicBezTo>
                <a:cubicBezTo>
                  <a:pt x="1330" y="21143"/>
                  <a:pt x="119" y="16522"/>
                  <a:pt x="117" y="10806"/>
                </a:cubicBezTo>
                <a:cubicBezTo>
                  <a:pt x="119" y="5090"/>
                  <a:pt x="1330" y="467"/>
                  <a:pt x="2824" y="457"/>
                </a:cubicBezTo>
                <a:close/>
                <a:moveTo>
                  <a:pt x="2904" y="2561"/>
                </a:moveTo>
                <a:cubicBezTo>
                  <a:pt x="2112" y="2561"/>
                  <a:pt x="1664" y="3808"/>
                  <a:pt x="1664" y="3808"/>
                </a:cubicBezTo>
                <a:cubicBezTo>
                  <a:pt x="1806" y="3572"/>
                  <a:pt x="2347" y="2984"/>
                  <a:pt x="2845" y="2984"/>
                </a:cubicBezTo>
                <a:cubicBezTo>
                  <a:pt x="3606" y="3031"/>
                  <a:pt x="3875" y="4231"/>
                  <a:pt x="3875" y="4231"/>
                </a:cubicBezTo>
                <a:cubicBezTo>
                  <a:pt x="3875" y="4231"/>
                  <a:pt x="3366" y="3644"/>
                  <a:pt x="2623" y="3785"/>
                </a:cubicBezTo>
                <a:cubicBezTo>
                  <a:pt x="1961" y="3879"/>
                  <a:pt x="1234" y="5329"/>
                  <a:pt x="1234" y="5329"/>
                </a:cubicBezTo>
                <a:cubicBezTo>
                  <a:pt x="1234" y="5329"/>
                  <a:pt x="1156" y="5587"/>
                  <a:pt x="1174" y="5774"/>
                </a:cubicBezTo>
                <a:cubicBezTo>
                  <a:pt x="1285" y="5610"/>
                  <a:pt x="1769" y="4698"/>
                  <a:pt x="2543" y="4322"/>
                </a:cubicBezTo>
                <a:cubicBezTo>
                  <a:pt x="3316" y="3946"/>
                  <a:pt x="3905" y="4928"/>
                  <a:pt x="3905" y="4928"/>
                </a:cubicBezTo>
                <a:cubicBezTo>
                  <a:pt x="3905" y="4928"/>
                  <a:pt x="3827" y="5405"/>
                  <a:pt x="3753" y="5546"/>
                </a:cubicBezTo>
                <a:cubicBezTo>
                  <a:pt x="3330" y="5146"/>
                  <a:pt x="2744" y="5125"/>
                  <a:pt x="2124" y="5477"/>
                </a:cubicBezTo>
                <a:cubicBezTo>
                  <a:pt x="1504" y="5830"/>
                  <a:pt x="902" y="7570"/>
                  <a:pt x="902" y="7570"/>
                </a:cubicBezTo>
                <a:cubicBezTo>
                  <a:pt x="902" y="7570"/>
                  <a:pt x="823" y="7898"/>
                  <a:pt x="884" y="8039"/>
                </a:cubicBezTo>
                <a:cubicBezTo>
                  <a:pt x="1050" y="7663"/>
                  <a:pt x="1525" y="6438"/>
                  <a:pt x="2292" y="5969"/>
                </a:cubicBezTo>
                <a:cubicBezTo>
                  <a:pt x="3059" y="5499"/>
                  <a:pt x="3470" y="5848"/>
                  <a:pt x="3562" y="6083"/>
                </a:cubicBezTo>
                <a:cubicBezTo>
                  <a:pt x="3470" y="6294"/>
                  <a:pt x="2714" y="6699"/>
                  <a:pt x="2112" y="7215"/>
                </a:cubicBezTo>
                <a:cubicBezTo>
                  <a:pt x="1511" y="7732"/>
                  <a:pt x="1105" y="8593"/>
                  <a:pt x="920" y="9228"/>
                </a:cubicBezTo>
                <a:cubicBezTo>
                  <a:pt x="736" y="9861"/>
                  <a:pt x="720" y="10924"/>
                  <a:pt x="849" y="11652"/>
                </a:cubicBezTo>
                <a:cubicBezTo>
                  <a:pt x="836" y="11887"/>
                  <a:pt x="714" y="12711"/>
                  <a:pt x="1040" y="13344"/>
                </a:cubicBezTo>
                <a:cubicBezTo>
                  <a:pt x="1034" y="13791"/>
                  <a:pt x="874" y="14636"/>
                  <a:pt x="1377" y="15528"/>
                </a:cubicBezTo>
                <a:cubicBezTo>
                  <a:pt x="1421" y="16610"/>
                  <a:pt x="1904" y="17977"/>
                  <a:pt x="2677" y="18353"/>
                </a:cubicBezTo>
                <a:cubicBezTo>
                  <a:pt x="3457" y="18752"/>
                  <a:pt x="3857" y="17438"/>
                  <a:pt x="3857" y="17438"/>
                </a:cubicBezTo>
                <a:cubicBezTo>
                  <a:pt x="3857" y="17438"/>
                  <a:pt x="3409" y="18072"/>
                  <a:pt x="2758" y="17884"/>
                </a:cubicBezTo>
                <a:cubicBezTo>
                  <a:pt x="2156" y="17884"/>
                  <a:pt x="1652" y="16043"/>
                  <a:pt x="1652" y="16043"/>
                </a:cubicBezTo>
                <a:cubicBezTo>
                  <a:pt x="1652" y="16043"/>
                  <a:pt x="1960" y="16891"/>
                  <a:pt x="2886" y="17221"/>
                </a:cubicBezTo>
                <a:cubicBezTo>
                  <a:pt x="3820" y="17361"/>
                  <a:pt x="4312" y="16191"/>
                  <a:pt x="4312" y="16191"/>
                </a:cubicBezTo>
                <a:lnTo>
                  <a:pt x="4347" y="15951"/>
                </a:lnTo>
                <a:cubicBezTo>
                  <a:pt x="4170" y="16187"/>
                  <a:pt x="3567" y="16707"/>
                  <a:pt x="2910" y="16683"/>
                </a:cubicBezTo>
                <a:cubicBezTo>
                  <a:pt x="2253" y="16660"/>
                  <a:pt x="1611" y="15174"/>
                  <a:pt x="1611" y="15174"/>
                </a:cubicBezTo>
                <a:lnTo>
                  <a:pt x="1622" y="14876"/>
                </a:lnTo>
                <a:cubicBezTo>
                  <a:pt x="1622" y="14876"/>
                  <a:pt x="1603" y="14658"/>
                  <a:pt x="1664" y="14728"/>
                </a:cubicBezTo>
                <a:cubicBezTo>
                  <a:pt x="1726" y="14799"/>
                  <a:pt x="2249" y="15998"/>
                  <a:pt x="3182" y="15928"/>
                </a:cubicBezTo>
                <a:cubicBezTo>
                  <a:pt x="4115" y="15858"/>
                  <a:pt x="4593" y="14705"/>
                  <a:pt x="4593" y="14705"/>
                </a:cubicBezTo>
                <a:cubicBezTo>
                  <a:pt x="4593" y="14705"/>
                  <a:pt x="4653" y="14373"/>
                  <a:pt x="4622" y="14373"/>
                </a:cubicBezTo>
                <a:cubicBezTo>
                  <a:pt x="4236" y="14937"/>
                  <a:pt x="3661" y="15437"/>
                  <a:pt x="3084" y="15437"/>
                </a:cubicBezTo>
                <a:cubicBezTo>
                  <a:pt x="2507" y="15437"/>
                  <a:pt x="1861" y="14305"/>
                  <a:pt x="1862" y="14305"/>
                </a:cubicBezTo>
                <a:lnTo>
                  <a:pt x="2107" y="13927"/>
                </a:lnTo>
                <a:cubicBezTo>
                  <a:pt x="2107" y="13927"/>
                  <a:pt x="2531" y="14615"/>
                  <a:pt x="3415" y="14522"/>
                </a:cubicBezTo>
                <a:cubicBezTo>
                  <a:pt x="4299" y="14427"/>
                  <a:pt x="4832" y="12761"/>
                  <a:pt x="4832" y="12761"/>
                </a:cubicBezTo>
                <a:cubicBezTo>
                  <a:pt x="4832" y="12761"/>
                  <a:pt x="4850" y="12708"/>
                  <a:pt x="4843" y="12567"/>
                </a:cubicBezTo>
                <a:cubicBezTo>
                  <a:pt x="4432" y="13341"/>
                  <a:pt x="3851" y="13913"/>
                  <a:pt x="3415" y="14030"/>
                </a:cubicBezTo>
                <a:cubicBezTo>
                  <a:pt x="2979" y="14148"/>
                  <a:pt x="2507" y="13607"/>
                  <a:pt x="2507" y="13607"/>
                </a:cubicBezTo>
                <a:cubicBezTo>
                  <a:pt x="2507" y="13607"/>
                  <a:pt x="2959" y="13371"/>
                  <a:pt x="3696" y="12784"/>
                </a:cubicBezTo>
                <a:cubicBezTo>
                  <a:pt x="4482" y="12338"/>
                  <a:pt x="4888" y="10474"/>
                  <a:pt x="4888" y="10474"/>
                </a:cubicBezTo>
                <a:cubicBezTo>
                  <a:pt x="5023" y="9675"/>
                  <a:pt x="4869" y="9160"/>
                  <a:pt x="4796" y="8736"/>
                </a:cubicBezTo>
                <a:cubicBezTo>
                  <a:pt x="4826" y="8383"/>
                  <a:pt x="4905" y="7500"/>
                  <a:pt x="4598" y="6724"/>
                </a:cubicBezTo>
                <a:cubicBezTo>
                  <a:pt x="4648" y="5925"/>
                  <a:pt x="4396" y="5076"/>
                  <a:pt x="4162" y="4677"/>
                </a:cubicBezTo>
                <a:cubicBezTo>
                  <a:pt x="4156" y="4090"/>
                  <a:pt x="3696" y="2561"/>
                  <a:pt x="2904" y="2561"/>
                </a:cubicBezTo>
                <a:close/>
                <a:moveTo>
                  <a:pt x="7613" y="4391"/>
                </a:moveTo>
                <a:cubicBezTo>
                  <a:pt x="7216" y="4391"/>
                  <a:pt x="6857" y="5115"/>
                  <a:pt x="6597" y="6278"/>
                </a:cubicBezTo>
                <a:lnTo>
                  <a:pt x="6962" y="8439"/>
                </a:lnTo>
                <a:cubicBezTo>
                  <a:pt x="7116" y="7592"/>
                  <a:pt x="7350" y="7055"/>
                  <a:pt x="7613" y="7055"/>
                </a:cubicBezTo>
                <a:cubicBezTo>
                  <a:pt x="7805" y="7055"/>
                  <a:pt x="7983" y="7339"/>
                  <a:pt x="8124" y="7821"/>
                </a:cubicBezTo>
                <a:cubicBezTo>
                  <a:pt x="8253" y="8261"/>
                  <a:pt x="8285" y="8864"/>
                  <a:pt x="8292" y="9559"/>
                </a:cubicBezTo>
                <a:lnTo>
                  <a:pt x="7231" y="9559"/>
                </a:lnTo>
                <a:lnTo>
                  <a:pt x="7231" y="12041"/>
                </a:lnTo>
                <a:lnTo>
                  <a:pt x="8313" y="12041"/>
                </a:lnTo>
                <a:cubicBezTo>
                  <a:pt x="8318" y="12508"/>
                  <a:pt x="8285" y="12927"/>
                  <a:pt x="8211" y="13287"/>
                </a:cubicBezTo>
                <a:cubicBezTo>
                  <a:pt x="8058" y="14034"/>
                  <a:pt x="7858" y="14499"/>
                  <a:pt x="7613" y="14499"/>
                </a:cubicBezTo>
                <a:cubicBezTo>
                  <a:pt x="7369" y="14587"/>
                  <a:pt x="7193" y="14226"/>
                  <a:pt x="6869" y="13241"/>
                </a:cubicBezTo>
                <a:lnTo>
                  <a:pt x="6606" y="15322"/>
                </a:lnTo>
                <a:cubicBezTo>
                  <a:pt x="6866" y="16461"/>
                  <a:pt x="7220" y="17163"/>
                  <a:pt x="7613" y="17163"/>
                </a:cubicBezTo>
                <a:cubicBezTo>
                  <a:pt x="8472" y="17156"/>
                  <a:pt x="9061" y="14917"/>
                  <a:pt x="9051" y="10783"/>
                </a:cubicBezTo>
                <a:cubicBezTo>
                  <a:pt x="9051" y="7259"/>
                  <a:pt x="8405" y="4391"/>
                  <a:pt x="7613" y="4391"/>
                </a:cubicBezTo>
                <a:close/>
                <a:moveTo>
                  <a:pt x="8988" y="4391"/>
                </a:moveTo>
                <a:cubicBezTo>
                  <a:pt x="8988" y="4391"/>
                  <a:pt x="8988" y="7432"/>
                  <a:pt x="8988" y="7433"/>
                </a:cubicBezTo>
                <a:lnTo>
                  <a:pt x="9714" y="7433"/>
                </a:lnTo>
                <a:lnTo>
                  <a:pt x="9714" y="17175"/>
                </a:lnTo>
                <a:lnTo>
                  <a:pt x="10512" y="17175"/>
                </a:lnTo>
                <a:lnTo>
                  <a:pt x="10512" y="7433"/>
                </a:lnTo>
                <a:lnTo>
                  <a:pt x="11238" y="7433"/>
                </a:lnTo>
                <a:lnTo>
                  <a:pt x="11238" y="4391"/>
                </a:lnTo>
                <a:lnTo>
                  <a:pt x="8988" y="4391"/>
                </a:lnTo>
                <a:close/>
                <a:moveTo>
                  <a:pt x="11665" y="4391"/>
                </a:moveTo>
                <a:cubicBezTo>
                  <a:pt x="11665" y="4391"/>
                  <a:pt x="11665" y="17175"/>
                  <a:pt x="11665" y="17175"/>
                </a:cubicBezTo>
                <a:lnTo>
                  <a:pt x="12454" y="17175"/>
                </a:lnTo>
                <a:lnTo>
                  <a:pt x="12454" y="7433"/>
                </a:lnTo>
                <a:lnTo>
                  <a:pt x="12968" y="7433"/>
                </a:lnTo>
                <a:lnTo>
                  <a:pt x="12968" y="17175"/>
                </a:lnTo>
                <a:lnTo>
                  <a:pt x="13766" y="17175"/>
                </a:lnTo>
                <a:lnTo>
                  <a:pt x="13766" y="4391"/>
                </a:lnTo>
                <a:lnTo>
                  <a:pt x="11665" y="4391"/>
                </a:lnTo>
                <a:close/>
                <a:moveTo>
                  <a:pt x="15203" y="4391"/>
                </a:moveTo>
                <a:cubicBezTo>
                  <a:pt x="15203" y="4391"/>
                  <a:pt x="15203" y="17175"/>
                  <a:pt x="15203" y="17175"/>
                </a:cubicBezTo>
                <a:lnTo>
                  <a:pt x="16018" y="17175"/>
                </a:lnTo>
                <a:lnTo>
                  <a:pt x="16018" y="7490"/>
                </a:lnTo>
                <a:lnTo>
                  <a:pt x="16789" y="7490"/>
                </a:lnTo>
                <a:lnTo>
                  <a:pt x="16789" y="4391"/>
                </a:lnTo>
                <a:lnTo>
                  <a:pt x="15203" y="4391"/>
                </a:lnTo>
                <a:close/>
                <a:moveTo>
                  <a:pt x="17115" y="4391"/>
                </a:moveTo>
                <a:cubicBezTo>
                  <a:pt x="17115" y="4391"/>
                  <a:pt x="17115" y="17175"/>
                  <a:pt x="17115" y="17175"/>
                </a:cubicBezTo>
                <a:lnTo>
                  <a:pt x="17904" y="17175"/>
                </a:lnTo>
                <a:lnTo>
                  <a:pt x="17904" y="7433"/>
                </a:lnTo>
                <a:lnTo>
                  <a:pt x="18418" y="7433"/>
                </a:lnTo>
                <a:lnTo>
                  <a:pt x="18418" y="17175"/>
                </a:lnTo>
                <a:lnTo>
                  <a:pt x="19216" y="17175"/>
                </a:lnTo>
                <a:lnTo>
                  <a:pt x="19216" y="4391"/>
                </a:lnTo>
                <a:lnTo>
                  <a:pt x="17115" y="4391"/>
                </a:lnTo>
                <a:close/>
                <a:moveTo>
                  <a:pt x="19601" y="4391"/>
                </a:moveTo>
                <a:lnTo>
                  <a:pt x="19601" y="17175"/>
                </a:lnTo>
                <a:lnTo>
                  <a:pt x="20608" y="17175"/>
                </a:lnTo>
                <a:cubicBezTo>
                  <a:pt x="20768" y="17175"/>
                  <a:pt x="21600" y="16746"/>
                  <a:pt x="21600" y="13081"/>
                </a:cubicBezTo>
                <a:cubicBezTo>
                  <a:pt x="21600" y="9416"/>
                  <a:pt x="20742" y="9102"/>
                  <a:pt x="20515" y="9102"/>
                </a:cubicBezTo>
                <a:lnTo>
                  <a:pt x="20348" y="9102"/>
                </a:lnTo>
                <a:lnTo>
                  <a:pt x="20348" y="7295"/>
                </a:lnTo>
                <a:lnTo>
                  <a:pt x="21409" y="7295"/>
                </a:lnTo>
                <a:lnTo>
                  <a:pt x="21409" y="4391"/>
                </a:lnTo>
                <a:lnTo>
                  <a:pt x="19601" y="4391"/>
                </a:lnTo>
                <a:close/>
                <a:moveTo>
                  <a:pt x="4138" y="5329"/>
                </a:moveTo>
                <a:cubicBezTo>
                  <a:pt x="4261" y="5634"/>
                  <a:pt x="4305" y="5871"/>
                  <a:pt x="4318" y="6129"/>
                </a:cubicBezTo>
                <a:cubicBezTo>
                  <a:pt x="4275" y="6035"/>
                  <a:pt x="4003" y="5855"/>
                  <a:pt x="4040" y="5832"/>
                </a:cubicBezTo>
                <a:cubicBezTo>
                  <a:pt x="4077" y="5808"/>
                  <a:pt x="4138" y="5329"/>
                  <a:pt x="4138" y="5329"/>
                </a:cubicBezTo>
                <a:close/>
                <a:moveTo>
                  <a:pt x="3887" y="6300"/>
                </a:moveTo>
                <a:cubicBezTo>
                  <a:pt x="3887" y="6300"/>
                  <a:pt x="4205" y="6650"/>
                  <a:pt x="4267" y="6815"/>
                </a:cubicBezTo>
                <a:cubicBezTo>
                  <a:pt x="4242" y="7144"/>
                  <a:pt x="4120" y="7375"/>
                  <a:pt x="4120" y="7375"/>
                </a:cubicBezTo>
                <a:cubicBezTo>
                  <a:pt x="4120" y="7375"/>
                  <a:pt x="3838" y="6931"/>
                  <a:pt x="3672" y="6861"/>
                </a:cubicBezTo>
                <a:cubicBezTo>
                  <a:pt x="3813" y="6626"/>
                  <a:pt x="3887" y="6300"/>
                  <a:pt x="3887" y="6300"/>
                </a:cubicBezTo>
                <a:close/>
                <a:moveTo>
                  <a:pt x="4518" y="7375"/>
                </a:moveTo>
                <a:cubicBezTo>
                  <a:pt x="4656" y="7540"/>
                  <a:pt x="4598" y="8141"/>
                  <a:pt x="4598" y="8141"/>
                </a:cubicBezTo>
                <a:cubicBezTo>
                  <a:pt x="4598" y="8141"/>
                  <a:pt x="4410" y="7753"/>
                  <a:pt x="4434" y="7753"/>
                </a:cubicBezTo>
                <a:cubicBezTo>
                  <a:pt x="4459" y="7635"/>
                  <a:pt x="4518" y="7375"/>
                  <a:pt x="4518" y="7375"/>
                </a:cubicBezTo>
                <a:close/>
                <a:moveTo>
                  <a:pt x="3472" y="7501"/>
                </a:moveTo>
                <a:cubicBezTo>
                  <a:pt x="3596" y="7532"/>
                  <a:pt x="3710" y="7608"/>
                  <a:pt x="3816" y="7730"/>
                </a:cubicBezTo>
                <a:cubicBezTo>
                  <a:pt x="3848" y="7808"/>
                  <a:pt x="3798" y="7844"/>
                  <a:pt x="3798" y="7844"/>
                </a:cubicBezTo>
                <a:cubicBezTo>
                  <a:pt x="3798" y="7844"/>
                  <a:pt x="2748" y="8665"/>
                  <a:pt x="2420" y="8885"/>
                </a:cubicBezTo>
                <a:cubicBezTo>
                  <a:pt x="2093" y="9104"/>
                  <a:pt x="1258" y="9815"/>
                  <a:pt x="1037" y="10817"/>
                </a:cubicBezTo>
                <a:lnTo>
                  <a:pt x="980" y="10783"/>
                </a:lnTo>
                <a:cubicBezTo>
                  <a:pt x="980" y="10783"/>
                  <a:pt x="926" y="10387"/>
                  <a:pt x="1004" y="10074"/>
                </a:cubicBezTo>
                <a:cubicBezTo>
                  <a:pt x="1081" y="9761"/>
                  <a:pt x="1302" y="8899"/>
                  <a:pt x="2068" y="8210"/>
                </a:cubicBezTo>
                <a:cubicBezTo>
                  <a:pt x="2642" y="7692"/>
                  <a:pt x="3101" y="7408"/>
                  <a:pt x="3472" y="7501"/>
                </a:cubicBezTo>
                <a:close/>
                <a:moveTo>
                  <a:pt x="4213" y="8279"/>
                </a:moveTo>
                <a:cubicBezTo>
                  <a:pt x="4213" y="8279"/>
                  <a:pt x="4463" y="8673"/>
                  <a:pt x="4455" y="8736"/>
                </a:cubicBezTo>
                <a:cubicBezTo>
                  <a:pt x="4447" y="8799"/>
                  <a:pt x="4240" y="9199"/>
                  <a:pt x="3941" y="9559"/>
                </a:cubicBezTo>
                <a:cubicBezTo>
                  <a:pt x="3642" y="9919"/>
                  <a:pt x="2333" y="10864"/>
                  <a:pt x="2047" y="11069"/>
                </a:cubicBezTo>
                <a:cubicBezTo>
                  <a:pt x="1760" y="11272"/>
                  <a:pt x="1392" y="12006"/>
                  <a:pt x="1392" y="12006"/>
                </a:cubicBezTo>
                <a:lnTo>
                  <a:pt x="1216" y="11503"/>
                </a:lnTo>
                <a:cubicBezTo>
                  <a:pt x="1318" y="10971"/>
                  <a:pt x="1799" y="10428"/>
                  <a:pt x="1799" y="10428"/>
                </a:cubicBezTo>
                <a:cubicBezTo>
                  <a:pt x="2122" y="10022"/>
                  <a:pt x="3271" y="9314"/>
                  <a:pt x="3529" y="9079"/>
                </a:cubicBezTo>
                <a:cubicBezTo>
                  <a:pt x="3774" y="8876"/>
                  <a:pt x="4213" y="8279"/>
                  <a:pt x="4213" y="8279"/>
                </a:cubicBezTo>
                <a:close/>
                <a:moveTo>
                  <a:pt x="4634" y="9376"/>
                </a:moveTo>
                <a:cubicBezTo>
                  <a:pt x="4634" y="9376"/>
                  <a:pt x="4639" y="9465"/>
                  <a:pt x="4643" y="10154"/>
                </a:cubicBezTo>
                <a:cubicBezTo>
                  <a:pt x="4291" y="11658"/>
                  <a:pt x="2940" y="12379"/>
                  <a:pt x="2674" y="12567"/>
                </a:cubicBezTo>
                <a:cubicBezTo>
                  <a:pt x="2408" y="12754"/>
                  <a:pt x="2026" y="13081"/>
                  <a:pt x="2026" y="13081"/>
                </a:cubicBezTo>
                <a:lnTo>
                  <a:pt x="1721" y="12521"/>
                </a:lnTo>
                <a:cubicBezTo>
                  <a:pt x="1770" y="12458"/>
                  <a:pt x="2083" y="12008"/>
                  <a:pt x="2402" y="11789"/>
                </a:cubicBezTo>
                <a:cubicBezTo>
                  <a:pt x="3102" y="11381"/>
                  <a:pt x="3690" y="10960"/>
                  <a:pt x="4016" y="10566"/>
                </a:cubicBezTo>
                <a:cubicBezTo>
                  <a:pt x="4405" y="10095"/>
                  <a:pt x="4634" y="9376"/>
                  <a:pt x="4634" y="9376"/>
                </a:cubicBezTo>
                <a:close/>
                <a:moveTo>
                  <a:pt x="20348" y="11766"/>
                </a:moveTo>
                <a:lnTo>
                  <a:pt x="20587" y="11766"/>
                </a:lnTo>
                <a:cubicBezTo>
                  <a:pt x="20755" y="11766"/>
                  <a:pt x="20847" y="12132"/>
                  <a:pt x="20847" y="13196"/>
                </a:cubicBezTo>
                <a:cubicBezTo>
                  <a:pt x="20847" y="14260"/>
                  <a:pt x="20720" y="14637"/>
                  <a:pt x="20611" y="14671"/>
                </a:cubicBezTo>
                <a:cubicBezTo>
                  <a:pt x="20511" y="14702"/>
                  <a:pt x="20348" y="14682"/>
                  <a:pt x="20348" y="14682"/>
                </a:cubicBezTo>
                <a:lnTo>
                  <a:pt x="20348" y="11766"/>
                </a:lnTo>
                <a:close/>
                <a:moveTo>
                  <a:pt x="1052" y="12144"/>
                </a:moveTo>
                <a:cubicBezTo>
                  <a:pt x="1104" y="12343"/>
                  <a:pt x="1201" y="12521"/>
                  <a:pt x="1201" y="12521"/>
                </a:cubicBezTo>
                <a:cubicBezTo>
                  <a:pt x="1201" y="12521"/>
                  <a:pt x="1166" y="12606"/>
                  <a:pt x="1138" y="12853"/>
                </a:cubicBezTo>
                <a:cubicBezTo>
                  <a:pt x="1068" y="12770"/>
                  <a:pt x="1052" y="12144"/>
                  <a:pt x="1052" y="12144"/>
                </a:cubicBezTo>
                <a:close/>
                <a:moveTo>
                  <a:pt x="1446" y="12990"/>
                </a:moveTo>
                <a:cubicBezTo>
                  <a:pt x="1560" y="13295"/>
                  <a:pt x="1662" y="13388"/>
                  <a:pt x="1754" y="13470"/>
                </a:cubicBezTo>
                <a:cubicBezTo>
                  <a:pt x="1702" y="13553"/>
                  <a:pt x="1566" y="13836"/>
                  <a:pt x="1566" y="13836"/>
                </a:cubicBezTo>
                <a:cubicBezTo>
                  <a:pt x="1566" y="13836"/>
                  <a:pt x="1381" y="13534"/>
                  <a:pt x="1360" y="13310"/>
                </a:cubicBezTo>
                <a:cubicBezTo>
                  <a:pt x="1396" y="13134"/>
                  <a:pt x="1446" y="12990"/>
                  <a:pt x="1446" y="12990"/>
                </a:cubicBezTo>
                <a:close/>
                <a:moveTo>
                  <a:pt x="1252" y="13996"/>
                </a:moveTo>
                <a:cubicBezTo>
                  <a:pt x="1261" y="14195"/>
                  <a:pt x="1425" y="14316"/>
                  <a:pt x="1425" y="14316"/>
                </a:cubicBezTo>
                <a:cubicBezTo>
                  <a:pt x="1425" y="14316"/>
                  <a:pt x="1363" y="14739"/>
                  <a:pt x="1363" y="14739"/>
                </a:cubicBezTo>
                <a:lnTo>
                  <a:pt x="1255" y="14179"/>
                </a:lnTo>
                <a:lnTo>
                  <a:pt x="1252" y="13996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000"/>
          </a:p>
        </p:txBody>
      </p:sp>
      <p:sp>
        <p:nvSpPr>
          <p:cNvPr id="12" name="Номер слайда 14">
            <a:extLst>
              <a:ext uri="{FF2B5EF4-FFF2-40B4-BE49-F238E27FC236}">
                <a16:creationId xmlns:a16="http://schemas.microsoft.com/office/drawing/2014/main" id="{6519BE85-BEAA-274C-9A79-315C44221C7A}"/>
              </a:ext>
            </a:extLst>
          </p:cNvPr>
          <p:cNvSpPr txBox="1">
            <a:spLocks/>
          </p:cNvSpPr>
          <p:nvPr userDrawn="1"/>
        </p:nvSpPr>
        <p:spPr>
          <a:xfrm>
            <a:off x="492369" y="-1"/>
            <a:ext cx="945662" cy="36000"/>
          </a:xfrm>
          <a:prstGeom prst="rect">
            <a:avLst/>
          </a:prstGeom>
          <a:solidFill>
            <a:schemeClr val="accent4"/>
          </a:solidFill>
        </p:spPr>
        <p:txBody>
          <a:bodyPr vert="horz" lIns="0" tIns="0" rIns="0" bIns="0" rtlCol="0" anchor="ctr"/>
          <a:lstStyle>
            <a:defPPr>
              <a:defRPr lang="ru-RU"/>
            </a:defPPr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uk-UA" sz="1200" dirty="0">
              <a:solidFill>
                <a:schemeClr val="accent5"/>
              </a:solidFill>
            </a:endParaRPr>
          </a:p>
        </p:txBody>
      </p:sp>
      <p:sp>
        <p:nvSpPr>
          <p:cNvPr id="18" name="Номер слайда 14">
            <a:extLst>
              <a:ext uri="{FF2B5EF4-FFF2-40B4-BE49-F238E27FC236}">
                <a16:creationId xmlns:a16="http://schemas.microsoft.com/office/drawing/2014/main" id="{2415A624-395B-C447-BECD-9DC8B4B31C74}"/>
              </a:ext>
            </a:extLst>
          </p:cNvPr>
          <p:cNvSpPr txBox="1">
            <a:spLocks/>
          </p:cNvSpPr>
          <p:nvPr userDrawn="1"/>
        </p:nvSpPr>
        <p:spPr>
          <a:xfrm>
            <a:off x="10011508" y="6495211"/>
            <a:ext cx="1697893" cy="3600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ru-RU"/>
            </a:defPPr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CA6BF4B-3287-6A4A-82B2-06377682D5A8}" type="slidenum">
              <a:rPr lang="uk-UA" sz="1000" b="0" i="0" smtClean="0">
                <a:solidFill>
                  <a:schemeClr val="bg2"/>
                </a:solidFill>
                <a:latin typeface="Roboto Thin" panose="02000000000000000000" pitchFamily="2" charset="0"/>
                <a:ea typeface="Roboto Thin" panose="02000000000000000000" pitchFamily="2" charset="0"/>
                <a:cs typeface="Roboto Thin" panose="02000000000000000000" pitchFamily="2" charset="0"/>
              </a:rPr>
              <a:pPr algn="r"/>
              <a:t>‹#›</a:t>
            </a:fld>
            <a:endParaRPr lang="uk-UA" sz="1000" b="0" i="0" dirty="0">
              <a:solidFill>
                <a:schemeClr val="bg2"/>
              </a:solidFill>
              <a:latin typeface="Roboto Thin" panose="02000000000000000000" pitchFamily="2" charset="0"/>
              <a:ea typeface="Roboto Thin" panose="02000000000000000000" pitchFamily="2" charset="0"/>
              <a:cs typeface="Roboto Thi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5696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нтакты Серый">
    <p:bg>
      <p:bgPr>
        <a:gradFill>
          <a:gsLst>
            <a:gs pos="0">
              <a:schemeClr val="bg2">
                <a:lumMod val="90000"/>
              </a:schemeClr>
            </a:gs>
            <a:gs pos="100000">
              <a:schemeClr val="bg2">
                <a:lumMod val="7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E8DF060-AC74-8C49-82E1-DDBD15801592}"/>
              </a:ext>
            </a:extLst>
          </p:cNvPr>
          <p:cNvSpPr/>
          <p:nvPr userDrawn="1"/>
        </p:nvSpPr>
        <p:spPr>
          <a:xfrm>
            <a:off x="0" y="3098801"/>
            <a:ext cx="12192000" cy="2606675"/>
          </a:xfrm>
          <a:prstGeom prst="rect">
            <a:avLst/>
          </a:pr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F319F3C-D1E6-1145-9B4A-23C6107FF741}"/>
              </a:ext>
            </a:extLst>
          </p:cNvPr>
          <p:cNvGrpSpPr/>
          <p:nvPr userDrawn="1"/>
        </p:nvGrpSpPr>
        <p:grpSpPr>
          <a:xfrm>
            <a:off x="4246518" y="956069"/>
            <a:ext cx="3698967" cy="826813"/>
            <a:chOff x="2220632" y="956068"/>
            <a:chExt cx="3005411" cy="826813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9A5202C5-4356-D843-81B6-306FF08D7A19}"/>
                </a:ext>
              </a:extLst>
            </p:cNvPr>
            <p:cNvGrpSpPr/>
            <p:nvPr userDrawn="1"/>
          </p:nvGrpSpPr>
          <p:grpSpPr>
            <a:xfrm>
              <a:off x="2228057" y="966670"/>
              <a:ext cx="2966243" cy="806686"/>
              <a:chOff x="2228057" y="966670"/>
              <a:chExt cx="2966243" cy="806686"/>
            </a:xfrm>
          </p:grpSpPr>
          <p:sp>
            <p:nvSpPr>
              <p:cNvPr id="6" name="Овал 5">
                <a:extLst>
                  <a:ext uri="{FF2B5EF4-FFF2-40B4-BE49-F238E27FC236}">
                    <a16:creationId xmlns:a16="http://schemas.microsoft.com/office/drawing/2014/main" id="{4812EDC3-09D4-B846-8728-F3941E09CEFC}"/>
                  </a:ext>
                </a:extLst>
              </p:cNvPr>
              <p:cNvSpPr/>
              <p:nvPr userDrawn="1"/>
            </p:nvSpPr>
            <p:spPr>
              <a:xfrm>
                <a:off x="2228057" y="966670"/>
                <a:ext cx="709730" cy="70973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800"/>
              </a:p>
            </p:txBody>
          </p:sp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4CD76C40-E851-4B4D-BE6E-5D563E114D9E}"/>
                  </a:ext>
                </a:extLst>
              </p:cNvPr>
              <p:cNvSpPr/>
              <p:nvPr userDrawn="1"/>
            </p:nvSpPr>
            <p:spPr>
              <a:xfrm>
                <a:off x="3165475" y="1346200"/>
                <a:ext cx="2028825" cy="1809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800"/>
              </a:p>
            </p:txBody>
          </p:sp>
          <p:sp>
            <p:nvSpPr>
              <p:cNvPr id="13" name="Прямоугольник 12">
                <a:extLst>
                  <a:ext uri="{FF2B5EF4-FFF2-40B4-BE49-F238E27FC236}">
                    <a16:creationId xmlns:a16="http://schemas.microsoft.com/office/drawing/2014/main" id="{BDE84C46-60D7-D84E-9D8E-BC1001637483}"/>
                  </a:ext>
                </a:extLst>
              </p:cNvPr>
              <p:cNvSpPr/>
              <p:nvPr userDrawn="1"/>
            </p:nvSpPr>
            <p:spPr>
              <a:xfrm>
                <a:off x="3165475" y="1592381"/>
                <a:ext cx="1400176" cy="1809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800"/>
              </a:p>
            </p:txBody>
          </p:sp>
        </p:grpSp>
        <p:sp>
          <p:nvSpPr>
            <p:cNvPr id="10" name="Фигура">
              <a:extLst>
                <a:ext uri="{FF2B5EF4-FFF2-40B4-BE49-F238E27FC236}">
                  <a16:creationId xmlns:a16="http://schemas.microsoft.com/office/drawing/2014/main" id="{34F4A888-02AB-BB4F-B70F-9E2D5C6FCE77}"/>
                </a:ext>
              </a:extLst>
            </p:cNvPr>
            <p:cNvSpPr/>
            <p:nvPr userDrawn="1"/>
          </p:nvSpPr>
          <p:spPr>
            <a:xfrm>
              <a:off x="2220632" y="956068"/>
              <a:ext cx="3005411" cy="8268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607" y="0"/>
                  </a:moveTo>
                  <a:cubicBezTo>
                    <a:pt x="1167" y="1"/>
                    <a:pt x="0" y="4242"/>
                    <a:pt x="0" y="9476"/>
                  </a:cubicBezTo>
                  <a:cubicBezTo>
                    <a:pt x="0" y="14710"/>
                    <a:pt x="1167" y="18953"/>
                    <a:pt x="2607" y="18954"/>
                  </a:cubicBezTo>
                  <a:cubicBezTo>
                    <a:pt x="4047" y="18953"/>
                    <a:pt x="5214" y="14710"/>
                    <a:pt x="5214" y="9476"/>
                  </a:cubicBezTo>
                  <a:cubicBezTo>
                    <a:pt x="5214" y="4242"/>
                    <a:pt x="4047" y="1"/>
                    <a:pt x="2607" y="0"/>
                  </a:cubicBezTo>
                  <a:close/>
                  <a:moveTo>
                    <a:pt x="2607" y="396"/>
                  </a:moveTo>
                  <a:cubicBezTo>
                    <a:pt x="3987" y="405"/>
                    <a:pt x="5102" y="4461"/>
                    <a:pt x="5105" y="9476"/>
                  </a:cubicBezTo>
                  <a:cubicBezTo>
                    <a:pt x="5102" y="14491"/>
                    <a:pt x="3987" y="18548"/>
                    <a:pt x="2607" y="18558"/>
                  </a:cubicBezTo>
                  <a:cubicBezTo>
                    <a:pt x="1227" y="18548"/>
                    <a:pt x="111" y="14491"/>
                    <a:pt x="109" y="9476"/>
                  </a:cubicBezTo>
                  <a:cubicBezTo>
                    <a:pt x="111" y="4461"/>
                    <a:pt x="1227" y="405"/>
                    <a:pt x="2607" y="396"/>
                  </a:cubicBezTo>
                  <a:close/>
                  <a:moveTo>
                    <a:pt x="7251" y="405"/>
                  </a:moveTo>
                  <a:cubicBezTo>
                    <a:pt x="6983" y="405"/>
                    <a:pt x="6740" y="868"/>
                    <a:pt x="6564" y="1613"/>
                  </a:cubicBezTo>
                  <a:lnTo>
                    <a:pt x="6810" y="3001"/>
                  </a:lnTo>
                  <a:cubicBezTo>
                    <a:pt x="6914" y="2458"/>
                    <a:pt x="7073" y="2110"/>
                    <a:pt x="7251" y="2110"/>
                  </a:cubicBezTo>
                  <a:cubicBezTo>
                    <a:pt x="7380" y="2110"/>
                    <a:pt x="7499" y="2295"/>
                    <a:pt x="7594" y="2604"/>
                  </a:cubicBezTo>
                  <a:cubicBezTo>
                    <a:pt x="7681" y="2887"/>
                    <a:pt x="7703" y="3272"/>
                    <a:pt x="7708" y="3717"/>
                  </a:cubicBezTo>
                  <a:lnTo>
                    <a:pt x="6992" y="3717"/>
                  </a:lnTo>
                  <a:lnTo>
                    <a:pt x="6992" y="5306"/>
                  </a:lnTo>
                  <a:lnTo>
                    <a:pt x="7722" y="5306"/>
                  </a:lnTo>
                  <a:cubicBezTo>
                    <a:pt x="7726" y="5606"/>
                    <a:pt x="7703" y="5879"/>
                    <a:pt x="7654" y="6110"/>
                  </a:cubicBezTo>
                  <a:cubicBezTo>
                    <a:pt x="7550" y="6589"/>
                    <a:pt x="7416" y="6888"/>
                    <a:pt x="7251" y="6888"/>
                  </a:cubicBezTo>
                  <a:cubicBezTo>
                    <a:pt x="7086" y="6944"/>
                    <a:pt x="6966" y="6711"/>
                    <a:pt x="6747" y="6081"/>
                  </a:cubicBezTo>
                  <a:lnTo>
                    <a:pt x="6570" y="7411"/>
                  </a:lnTo>
                  <a:cubicBezTo>
                    <a:pt x="6745" y="8142"/>
                    <a:pt x="6986" y="8593"/>
                    <a:pt x="7251" y="8593"/>
                  </a:cubicBezTo>
                  <a:cubicBezTo>
                    <a:pt x="7830" y="8588"/>
                    <a:pt x="8226" y="7149"/>
                    <a:pt x="8219" y="4499"/>
                  </a:cubicBezTo>
                  <a:cubicBezTo>
                    <a:pt x="8219" y="2240"/>
                    <a:pt x="7785" y="405"/>
                    <a:pt x="7251" y="405"/>
                  </a:cubicBezTo>
                  <a:close/>
                  <a:moveTo>
                    <a:pt x="8200" y="405"/>
                  </a:moveTo>
                  <a:lnTo>
                    <a:pt x="8200" y="2353"/>
                  </a:lnTo>
                  <a:lnTo>
                    <a:pt x="8689" y="2353"/>
                  </a:lnTo>
                  <a:lnTo>
                    <a:pt x="8689" y="8604"/>
                  </a:lnTo>
                  <a:cubicBezTo>
                    <a:pt x="8689" y="8604"/>
                    <a:pt x="9228" y="8604"/>
                    <a:pt x="9228" y="8604"/>
                  </a:cubicBezTo>
                  <a:lnTo>
                    <a:pt x="9228" y="2353"/>
                  </a:lnTo>
                  <a:lnTo>
                    <a:pt x="9717" y="2353"/>
                  </a:lnTo>
                  <a:lnTo>
                    <a:pt x="9717" y="405"/>
                  </a:lnTo>
                  <a:lnTo>
                    <a:pt x="8200" y="405"/>
                  </a:lnTo>
                  <a:close/>
                  <a:moveTo>
                    <a:pt x="9988" y="405"/>
                  </a:moveTo>
                  <a:lnTo>
                    <a:pt x="9988" y="8604"/>
                  </a:lnTo>
                  <a:cubicBezTo>
                    <a:pt x="9988" y="8604"/>
                    <a:pt x="10520" y="8604"/>
                    <a:pt x="10520" y="8604"/>
                  </a:cubicBezTo>
                  <a:lnTo>
                    <a:pt x="10520" y="2353"/>
                  </a:lnTo>
                  <a:lnTo>
                    <a:pt x="10866" y="2353"/>
                  </a:lnTo>
                  <a:lnTo>
                    <a:pt x="10866" y="8604"/>
                  </a:lnTo>
                  <a:lnTo>
                    <a:pt x="11405" y="8604"/>
                  </a:lnTo>
                  <a:lnTo>
                    <a:pt x="11405" y="405"/>
                  </a:lnTo>
                  <a:lnTo>
                    <a:pt x="9988" y="405"/>
                  </a:lnTo>
                  <a:close/>
                  <a:moveTo>
                    <a:pt x="12369" y="405"/>
                  </a:moveTo>
                  <a:lnTo>
                    <a:pt x="12369" y="8604"/>
                  </a:lnTo>
                  <a:cubicBezTo>
                    <a:pt x="12369" y="8604"/>
                    <a:pt x="12919" y="8604"/>
                    <a:pt x="12919" y="8604"/>
                  </a:cubicBezTo>
                  <a:lnTo>
                    <a:pt x="12919" y="2394"/>
                  </a:lnTo>
                  <a:lnTo>
                    <a:pt x="13441" y="2394"/>
                  </a:lnTo>
                  <a:lnTo>
                    <a:pt x="13441" y="405"/>
                  </a:lnTo>
                  <a:lnTo>
                    <a:pt x="12369" y="405"/>
                  </a:lnTo>
                  <a:close/>
                  <a:moveTo>
                    <a:pt x="13662" y="405"/>
                  </a:moveTo>
                  <a:lnTo>
                    <a:pt x="13662" y="8604"/>
                  </a:lnTo>
                  <a:cubicBezTo>
                    <a:pt x="13662" y="8604"/>
                    <a:pt x="14195" y="8604"/>
                    <a:pt x="14195" y="8604"/>
                  </a:cubicBezTo>
                  <a:lnTo>
                    <a:pt x="14195" y="2353"/>
                  </a:lnTo>
                  <a:lnTo>
                    <a:pt x="14541" y="2353"/>
                  </a:lnTo>
                  <a:lnTo>
                    <a:pt x="14541" y="8604"/>
                  </a:lnTo>
                  <a:lnTo>
                    <a:pt x="15080" y="8604"/>
                  </a:lnTo>
                  <a:lnTo>
                    <a:pt x="15080" y="405"/>
                  </a:lnTo>
                  <a:lnTo>
                    <a:pt x="13662" y="405"/>
                  </a:lnTo>
                  <a:close/>
                  <a:moveTo>
                    <a:pt x="15363" y="405"/>
                  </a:moveTo>
                  <a:lnTo>
                    <a:pt x="15363" y="8604"/>
                  </a:lnTo>
                  <a:cubicBezTo>
                    <a:pt x="15363" y="8604"/>
                    <a:pt x="16044" y="8604"/>
                    <a:pt x="16044" y="8604"/>
                  </a:cubicBezTo>
                  <a:cubicBezTo>
                    <a:pt x="16151" y="8604"/>
                    <a:pt x="16713" y="8329"/>
                    <a:pt x="16713" y="5980"/>
                  </a:cubicBezTo>
                  <a:cubicBezTo>
                    <a:pt x="16713" y="3630"/>
                    <a:pt x="16134" y="3424"/>
                    <a:pt x="15981" y="3424"/>
                  </a:cubicBezTo>
                  <a:lnTo>
                    <a:pt x="15868" y="3424"/>
                  </a:lnTo>
                  <a:lnTo>
                    <a:pt x="15868" y="2269"/>
                  </a:lnTo>
                  <a:lnTo>
                    <a:pt x="16582" y="2269"/>
                  </a:lnTo>
                  <a:lnTo>
                    <a:pt x="16582" y="405"/>
                  </a:lnTo>
                  <a:lnTo>
                    <a:pt x="15363" y="405"/>
                  </a:lnTo>
                  <a:close/>
                  <a:moveTo>
                    <a:pt x="2646" y="2548"/>
                  </a:moveTo>
                  <a:cubicBezTo>
                    <a:pt x="1914" y="2548"/>
                    <a:pt x="1500" y="3641"/>
                    <a:pt x="1500" y="3641"/>
                  </a:cubicBezTo>
                  <a:cubicBezTo>
                    <a:pt x="1631" y="3435"/>
                    <a:pt x="2130" y="2919"/>
                    <a:pt x="2589" y="2919"/>
                  </a:cubicBezTo>
                  <a:cubicBezTo>
                    <a:pt x="3292" y="2960"/>
                    <a:pt x="3541" y="4012"/>
                    <a:pt x="3541" y="4012"/>
                  </a:cubicBezTo>
                  <a:cubicBezTo>
                    <a:pt x="3541" y="4012"/>
                    <a:pt x="3071" y="3496"/>
                    <a:pt x="2385" y="3620"/>
                  </a:cubicBezTo>
                  <a:cubicBezTo>
                    <a:pt x="1772" y="3702"/>
                    <a:pt x="1103" y="4981"/>
                    <a:pt x="1103" y="4981"/>
                  </a:cubicBezTo>
                  <a:cubicBezTo>
                    <a:pt x="1103" y="4981"/>
                    <a:pt x="1030" y="5207"/>
                    <a:pt x="1047" y="5371"/>
                  </a:cubicBezTo>
                  <a:cubicBezTo>
                    <a:pt x="1149" y="5227"/>
                    <a:pt x="1597" y="4424"/>
                    <a:pt x="2311" y="4094"/>
                  </a:cubicBezTo>
                  <a:cubicBezTo>
                    <a:pt x="3026" y="3764"/>
                    <a:pt x="3570" y="4629"/>
                    <a:pt x="3570" y="4629"/>
                  </a:cubicBezTo>
                  <a:cubicBezTo>
                    <a:pt x="3570" y="4629"/>
                    <a:pt x="3496" y="5042"/>
                    <a:pt x="3428" y="5165"/>
                  </a:cubicBezTo>
                  <a:cubicBezTo>
                    <a:pt x="3037" y="4815"/>
                    <a:pt x="2498" y="4794"/>
                    <a:pt x="1925" y="5104"/>
                  </a:cubicBezTo>
                  <a:cubicBezTo>
                    <a:pt x="1353" y="5413"/>
                    <a:pt x="797" y="6939"/>
                    <a:pt x="797" y="6939"/>
                  </a:cubicBezTo>
                  <a:cubicBezTo>
                    <a:pt x="797" y="6939"/>
                    <a:pt x="723" y="7228"/>
                    <a:pt x="780" y="7351"/>
                  </a:cubicBezTo>
                  <a:cubicBezTo>
                    <a:pt x="933" y="7022"/>
                    <a:pt x="1370" y="5948"/>
                    <a:pt x="2079" y="5536"/>
                  </a:cubicBezTo>
                  <a:cubicBezTo>
                    <a:pt x="2787" y="5124"/>
                    <a:pt x="3167" y="5433"/>
                    <a:pt x="3252" y="5639"/>
                  </a:cubicBezTo>
                  <a:cubicBezTo>
                    <a:pt x="3167" y="5825"/>
                    <a:pt x="2470" y="6176"/>
                    <a:pt x="1914" y="6629"/>
                  </a:cubicBezTo>
                  <a:cubicBezTo>
                    <a:pt x="1358" y="7083"/>
                    <a:pt x="984" y="7844"/>
                    <a:pt x="814" y="8401"/>
                  </a:cubicBezTo>
                  <a:cubicBezTo>
                    <a:pt x="644" y="8957"/>
                    <a:pt x="627" y="9885"/>
                    <a:pt x="746" y="10524"/>
                  </a:cubicBezTo>
                  <a:cubicBezTo>
                    <a:pt x="734" y="10730"/>
                    <a:pt x="621" y="11452"/>
                    <a:pt x="922" y="12008"/>
                  </a:cubicBezTo>
                  <a:cubicBezTo>
                    <a:pt x="916" y="12400"/>
                    <a:pt x="769" y="13143"/>
                    <a:pt x="1234" y="13926"/>
                  </a:cubicBezTo>
                  <a:cubicBezTo>
                    <a:pt x="1274" y="14875"/>
                    <a:pt x="1721" y="16069"/>
                    <a:pt x="2436" y="16399"/>
                  </a:cubicBezTo>
                  <a:cubicBezTo>
                    <a:pt x="3156" y="16749"/>
                    <a:pt x="3525" y="15595"/>
                    <a:pt x="3525" y="15595"/>
                  </a:cubicBezTo>
                  <a:cubicBezTo>
                    <a:pt x="3525" y="15595"/>
                    <a:pt x="3110" y="16153"/>
                    <a:pt x="2509" y="15988"/>
                  </a:cubicBezTo>
                  <a:cubicBezTo>
                    <a:pt x="1954" y="15988"/>
                    <a:pt x="1489" y="14379"/>
                    <a:pt x="1489" y="14379"/>
                  </a:cubicBezTo>
                  <a:cubicBezTo>
                    <a:pt x="1489" y="14379"/>
                    <a:pt x="1772" y="15122"/>
                    <a:pt x="2628" y="15410"/>
                  </a:cubicBezTo>
                  <a:cubicBezTo>
                    <a:pt x="3490" y="15534"/>
                    <a:pt x="3944" y="14504"/>
                    <a:pt x="3944" y="14504"/>
                  </a:cubicBezTo>
                  <a:lnTo>
                    <a:pt x="3978" y="14297"/>
                  </a:lnTo>
                  <a:cubicBezTo>
                    <a:pt x="3814" y="14504"/>
                    <a:pt x="3258" y="14957"/>
                    <a:pt x="2651" y="14936"/>
                  </a:cubicBezTo>
                  <a:cubicBezTo>
                    <a:pt x="2045" y="14916"/>
                    <a:pt x="1449" y="13617"/>
                    <a:pt x="1449" y="13617"/>
                  </a:cubicBezTo>
                  <a:lnTo>
                    <a:pt x="1460" y="13349"/>
                  </a:lnTo>
                  <a:cubicBezTo>
                    <a:pt x="1460" y="13349"/>
                    <a:pt x="1443" y="13162"/>
                    <a:pt x="1500" y="13224"/>
                  </a:cubicBezTo>
                  <a:cubicBezTo>
                    <a:pt x="1557" y="13286"/>
                    <a:pt x="2039" y="14338"/>
                    <a:pt x="2901" y="14276"/>
                  </a:cubicBezTo>
                  <a:cubicBezTo>
                    <a:pt x="3763" y="14214"/>
                    <a:pt x="4205" y="13204"/>
                    <a:pt x="4205" y="13204"/>
                  </a:cubicBezTo>
                  <a:cubicBezTo>
                    <a:pt x="4205" y="13204"/>
                    <a:pt x="4261" y="12917"/>
                    <a:pt x="4233" y="12917"/>
                  </a:cubicBezTo>
                  <a:cubicBezTo>
                    <a:pt x="3876" y="13411"/>
                    <a:pt x="3343" y="13843"/>
                    <a:pt x="2810" y="13843"/>
                  </a:cubicBezTo>
                  <a:cubicBezTo>
                    <a:pt x="2277" y="13843"/>
                    <a:pt x="1681" y="12853"/>
                    <a:pt x="1681" y="12853"/>
                  </a:cubicBezTo>
                  <a:lnTo>
                    <a:pt x="1908" y="12524"/>
                  </a:lnTo>
                  <a:cubicBezTo>
                    <a:pt x="1908" y="12524"/>
                    <a:pt x="2300" y="13122"/>
                    <a:pt x="3116" y="13040"/>
                  </a:cubicBezTo>
                  <a:cubicBezTo>
                    <a:pt x="3933" y="12957"/>
                    <a:pt x="4426" y="11494"/>
                    <a:pt x="4426" y="11494"/>
                  </a:cubicBezTo>
                  <a:cubicBezTo>
                    <a:pt x="4426" y="11494"/>
                    <a:pt x="4443" y="11453"/>
                    <a:pt x="4437" y="11329"/>
                  </a:cubicBezTo>
                  <a:cubicBezTo>
                    <a:pt x="4057" y="12009"/>
                    <a:pt x="3519" y="12504"/>
                    <a:pt x="3116" y="12607"/>
                  </a:cubicBezTo>
                  <a:cubicBezTo>
                    <a:pt x="2714" y="12710"/>
                    <a:pt x="2277" y="12236"/>
                    <a:pt x="2277" y="12236"/>
                  </a:cubicBezTo>
                  <a:cubicBezTo>
                    <a:pt x="2277" y="12236"/>
                    <a:pt x="2697" y="12029"/>
                    <a:pt x="3377" y="11514"/>
                  </a:cubicBezTo>
                  <a:cubicBezTo>
                    <a:pt x="4103" y="11123"/>
                    <a:pt x="4477" y="9494"/>
                    <a:pt x="4477" y="9494"/>
                  </a:cubicBezTo>
                  <a:cubicBezTo>
                    <a:pt x="4602" y="8793"/>
                    <a:pt x="4460" y="8340"/>
                    <a:pt x="4392" y="7969"/>
                  </a:cubicBezTo>
                  <a:cubicBezTo>
                    <a:pt x="4420" y="7660"/>
                    <a:pt x="4494" y="6877"/>
                    <a:pt x="4211" y="6197"/>
                  </a:cubicBezTo>
                  <a:cubicBezTo>
                    <a:pt x="4256" y="5496"/>
                    <a:pt x="4023" y="4753"/>
                    <a:pt x="3808" y="4403"/>
                  </a:cubicBezTo>
                  <a:cubicBezTo>
                    <a:pt x="3802" y="3888"/>
                    <a:pt x="3377" y="2548"/>
                    <a:pt x="2646" y="2548"/>
                  </a:cubicBezTo>
                  <a:close/>
                  <a:moveTo>
                    <a:pt x="3785" y="4981"/>
                  </a:moveTo>
                  <a:cubicBezTo>
                    <a:pt x="3899" y="5248"/>
                    <a:pt x="3938" y="5454"/>
                    <a:pt x="3950" y="5681"/>
                  </a:cubicBezTo>
                  <a:cubicBezTo>
                    <a:pt x="3910" y="5599"/>
                    <a:pt x="3660" y="5434"/>
                    <a:pt x="3694" y="5413"/>
                  </a:cubicBezTo>
                  <a:cubicBezTo>
                    <a:pt x="3728" y="5393"/>
                    <a:pt x="3785" y="4981"/>
                    <a:pt x="3785" y="4981"/>
                  </a:cubicBezTo>
                  <a:close/>
                  <a:moveTo>
                    <a:pt x="15868" y="5134"/>
                  </a:moveTo>
                  <a:lnTo>
                    <a:pt x="16029" y="5134"/>
                  </a:lnTo>
                  <a:cubicBezTo>
                    <a:pt x="16142" y="5134"/>
                    <a:pt x="16204" y="5368"/>
                    <a:pt x="16204" y="6050"/>
                  </a:cubicBezTo>
                  <a:cubicBezTo>
                    <a:pt x="16204" y="6732"/>
                    <a:pt x="16119" y="6975"/>
                    <a:pt x="16046" y="6997"/>
                  </a:cubicBezTo>
                  <a:cubicBezTo>
                    <a:pt x="15978" y="7017"/>
                    <a:pt x="15868" y="7006"/>
                    <a:pt x="15868" y="7006"/>
                  </a:cubicBezTo>
                  <a:lnTo>
                    <a:pt x="15868" y="5134"/>
                  </a:lnTo>
                  <a:close/>
                  <a:moveTo>
                    <a:pt x="3553" y="5826"/>
                  </a:moveTo>
                  <a:cubicBezTo>
                    <a:pt x="3553" y="5826"/>
                    <a:pt x="3848" y="6134"/>
                    <a:pt x="3904" y="6278"/>
                  </a:cubicBezTo>
                  <a:cubicBezTo>
                    <a:pt x="3882" y="6567"/>
                    <a:pt x="3769" y="6774"/>
                    <a:pt x="3769" y="6774"/>
                  </a:cubicBezTo>
                  <a:cubicBezTo>
                    <a:pt x="3769" y="6774"/>
                    <a:pt x="3507" y="6382"/>
                    <a:pt x="3354" y="6320"/>
                  </a:cubicBezTo>
                  <a:cubicBezTo>
                    <a:pt x="3485" y="6114"/>
                    <a:pt x="3553" y="5826"/>
                    <a:pt x="3553" y="5826"/>
                  </a:cubicBezTo>
                  <a:close/>
                  <a:moveTo>
                    <a:pt x="4137" y="6774"/>
                  </a:moveTo>
                  <a:cubicBezTo>
                    <a:pt x="4265" y="6919"/>
                    <a:pt x="4211" y="7444"/>
                    <a:pt x="4211" y="7444"/>
                  </a:cubicBezTo>
                  <a:cubicBezTo>
                    <a:pt x="4211" y="7444"/>
                    <a:pt x="4035" y="7103"/>
                    <a:pt x="4057" y="7103"/>
                  </a:cubicBezTo>
                  <a:cubicBezTo>
                    <a:pt x="4080" y="7001"/>
                    <a:pt x="4137" y="6774"/>
                    <a:pt x="4137" y="6774"/>
                  </a:cubicBezTo>
                  <a:close/>
                  <a:moveTo>
                    <a:pt x="2991" y="6870"/>
                  </a:moveTo>
                  <a:cubicBezTo>
                    <a:pt x="3177" y="6857"/>
                    <a:pt x="3341" y="6924"/>
                    <a:pt x="3487" y="7084"/>
                  </a:cubicBezTo>
                  <a:cubicBezTo>
                    <a:pt x="3517" y="7152"/>
                    <a:pt x="3471" y="7179"/>
                    <a:pt x="3471" y="7179"/>
                  </a:cubicBezTo>
                  <a:cubicBezTo>
                    <a:pt x="3471" y="7179"/>
                    <a:pt x="2500" y="7906"/>
                    <a:pt x="2198" y="8099"/>
                  </a:cubicBezTo>
                  <a:cubicBezTo>
                    <a:pt x="1895" y="8291"/>
                    <a:pt x="1124" y="8910"/>
                    <a:pt x="920" y="9789"/>
                  </a:cubicBezTo>
                  <a:lnTo>
                    <a:pt x="867" y="9762"/>
                  </a:lnTo>
                  <a:cubicBezTo>
                    <a:pt x="867" y="9762"/>
                    <a:pt x="818" y="9418"/>
                    <a:pt x="890" y="9143"/>
                  </a:cubicBezTo>
                  <a:cubicBezTo>
                    <a:pt x="961" y="8868"/>
                    <a:pt x="1166" y="8114"/>
                    <a:pt x="1873" y="7509"/>
                  </a:cubicBezTo>
                  <a:cubicBezTo>
                    <a:pt x="2314" y="7131"/>
                    <a:pt x="2682" y="6892"/>
                    <a:pt x="2991" y="6870"/>
                  </a:cubicBezTo>
                  <a:close/>
                  <a:moveTo>
                    <a:pt x="3853" y="7563"/>
                  </a:moveTo>
                  <a:cubicBezTo>
                    <a:pt x="3853" y="7563"/>
                    <a:pt x="4084" y="7908"/>
                    <a:pt x="4076" y="7963"/>
                  </a:cubicBezTo>
                  <a:cubicBezTo>
                    <a:pt x="4069" y="8018"/>
                    <a:pt x="3880" y="8375"/>
                    <a:pt x="3604" y="8691"/>
                  </a:cubicBezTo>
                  <a:cubicBezTo>
                    <a:pt x="3328" y="9007"/>
                    <a:pt x="2118" y="9831"/>
                    <a:pt x="1854" y="10010"/>
                  </a:cubicBezTo>
                  <a:cubicBezTo>
                    <a:pt x="1589" y="10189"/>
                    <a:pt x="1249" y="10833"/>
                    <a:pt x="1249" y="10833"/>
                  </a:cubicBezTo>
                  <a:lnTo>
                    <a:pt x="1086" y="10394"/>
                  </a:lnTo>
                  <a:cubicBezTo>
                    <a:pt x="1180" y="9927"/>
                    <a:pt x="1623" y="9447"/>
                    <a:pt x="1623" y="9447"/>
                  </a:cubicBezTo>
                  <a:cubicBezTo>
                    <a:pt x="1922" y="9090"/>
                    <a:pt x="2984" y="8470"/>
                    <a:pt x="3222" y="8264"/>
                  </a:cubicBezTo>
                  <a:cubicBezTo>
                    <a:pt x="3449" y="8085"/>
                    <a:pt x="3853" y="7563"/>
                    <a:pt x="3853" y="7563"/>
                  </a:cubicBezTo>
                  <a:close/>
                  <a:moveTo>
                    <a:pt x="4243" y="8526"/>
                  </a:moveTo>
                  <a:cubicBezTo>
                    <a:pt x="4243" y="8526"/>
                    <a:pt x="4247" y="8607"/>
                    <a:pt x="4250" y="9212"/>
                  </a:cubicBezTo>
                  <a:cubicBezTo>
                    <a:pt x="3925" y="10531"/>
                    <a:pt x="2678" y="11164"/>
                    <a:pt x="2432" y="11329"/>
                  </a:cubicBezTo>
                  <a:cubicBezTo>
                    <a:pt x="2186" y="11494"/>
                    <a:pt x="1835" y="11782"/>
                    <a:pt x="1835" y="11782"/>
                  </a:cubicBezTo>
                  <a:lnTo>
                    <a:pt x="1551" y="11288"/>
                  </a:lnTo>
                  <a:cubicBezTo>
                    <a:pt x="1596" y="11233"/>
                    <a:pt x="1887" y="10834"/>
                    <a:pt x="2182" y="10642"/>
                  </a:cubicBezTo>
                  <a:cubicBezTo>
                    <a:pt x="2829" y="10284"/>
                    <a:pt x="3371" y="9916"/>
                    <a:pt x="3672" y="9570"/>
                  </a:cubicBezTo>
                  <a:cubicBezTo>
                    <a:pt x="4031" y="9158"/>
                    <a:pt x="4243" y="8526"/>
                    <a:pt x="4243" y="8526"/>
                  </a:cubicBezTo>
                  <a:close/>
                  <a:moveTo>
                    <a:pt x="6585" y="9840"/>
                  </a:moveTo>
                  <a:lnTo>
                    <a:pt x="6585" y="15170"/>
                  </a:lnTo>
                  <a:cubicBezTo>
                    <a:pt x="6585" y="15170"/>
                    <a:pt x="21600" y="15170"/>
                    <a:pt x="21600" y="15170"/>
                  </a:cubicBezTo>
                  <a:lnTo>
                    <a:pt x="21600" y="9840"/>
                  </a:lnTo>
                  <a:lnTo>
                    <a:pt x="6585" y="9840"/>
                  </a:lnTo>
                  <a:close/>
                  <a:moveTo>
                    <a:pt x="933" y="10958"/>
                  </a:moveTo>
                  <a:cubicBezTo>
                    <a:pt x="981" y="11133"/>
                    <a:pt x="1072" y="11288"/>
                    <a:pt x="1072" y="11288"/>
                  </a:cubicBezTo>
                  <a:cubicBezTo>
                    <a:pt x="1072" y="11288"/>
                    <a:pt x="1041" y="11359"/>
                    <a:pt x="1015" y="11576"/>
                  </a:cubicBezTo>
                  <a:cubicBezTo>
                    <a:pt x="950" y="11503"/>
                    <a:pt x="933" y="10958"/>
                    <a:pt x="933" y="10958"/>
                  </a:cubicBezTo>
                  <a:close/>
                  <a:moveTo>
                    <a:pt x="7479" y="11062"/>
                  </a:moveTo>
                  <a:cubicBezTo>
                    <a:pt x="7563" y="11062"/>
                    <a:pt x="7631" y="11187"/>
                    <a:pt x="7681" y="11436"/>
                  </a:cubicBezTo>
                  <a:cubicBezTo>
                    <a:pt x="7731" y="11685"/>
                    <a:pt x="7757" y="12024"/>
                    <a:pt x="7757" y="12450"/>
                  </a:cubicBezTo>
                  <a:cubicBezTo>
                    <a:pt x="7757" y="12862"/>
                    <a:pt x="7732" y="13191"/>
                    <a:pt x="7682" y="13438"/>
                  </a:cubicBezTo>
                  <a:cubicBezTo>
                    <a:pt x="7633" y="13685"/>
                    <a:pt x="7567" y="13807"/>
                    <a:pt x="7485" y="13807"/>
                  </a:cubicBezTo>
                  <a:cubicBezTo>
                    <a:pt x="7349" y="13807"/>
                    <a:pt x="7265" y="13523"/>
                    <a:pt x="7233" y="12955"/>
                  </a:cubicBezTo>
                  <a:lnTo>
                    <a:pt x="7354" y="12786"/>
                  </a:lnTo>
                  <a:cubicBezTo>
                    <a:pt x="7360" y="12969"/>
                    <a:pt x="7376" y="13109"/>
                    <a:pt x="7400" y="13206"/>
                  </a:cubicBezTo>
                  <a:cubicBezTo>
                    <a:pt x="7424" y="13303"/>
                    <a:pt x="7453" y="13351"/>
                    <a:pt x="7489" y="13351"/>
                  </a:cubicBezTo>
                  <a:cubicBezTo>
                    <a:pt x="7569" y="13351"/>
                    <a:pt x="7616" y="13121"/>
                    <a:pt x="7629" y="12661"/>
                  </a:cubicBezTo>
                  <a:lnTo>
                    <a:pt x="7441" y="12661"/>
                  </a:lnTo>
                  <a:lnTo>
                    <a:pt x="7441" y="12213"/>
                  </a:lnTo>
                  <a:lnTo>
                    <a:pt x="7629" y="12213"/>
                  </a:lnTo>
                  <a:cubicBezTo>
                    <a:pt x="7623" y="11990"/>
                    <a:pt x="7607" y="11819"/>
                    <a:pt x="7581" y="11699"/>
                  </a:cubicBezTo>
                  <a:cubicBezTo>
                    <a:pt x="7555" y="11579"/>
                    <a:pt x="7522" y="11518"/>
                    <a:pt x="7483" y="11518"/>
                  </a:cubicBezTo>
                  <a:cubicBezTo>
                    <a:pt x="7418" y="11518"/>
                    <a:pt x="7376" y="11665"/>
                    <a:pt x="7354" y="11959"/>
                  </a:cubicBezTo>
                  <a:lnTo>
                    <a:pt x="7235" y="11840"/>
                  </a:lnTo>
                  <a:cubicBezTo>
                    <a:pt x="7249" y="11588"/>
                    <a:pt x="7277" y="11397"/>
                    <a:pt x="7320" y="11262"/>
                  </a:cubicBezTo>
                  <a:cubicBezTo>
                    <a:pt x="7363" y="11129"/>
                    <a:pt x="7415" y="11062"/>
                    <a:pt x="7479" y="11062"/>
                  </a:cubicBezTo>
                  <a:close/>
                  <a:moveTo>
                    <a:pt x="1299" y="11700"/>
                  </a:moveTo>
                  <a:cubicBezTo>
                    <a:pt x="1404" y="11968"/>
                    <a:pt x="1497" y="12050"/>
                    <a:pt x="1582" y="12122"/>
                  </a:cubicBezTo>
                  <a:cubicBezTo>
                    <a:pt x="1534" y="12194"/>
                    <a:pt x="1410" y="12442"/>
                    <a:pt x="1410" y="12442"/>
                  </a:cubicBezTo>
                  <a:cubicBezTo>
                    <a:pt x="1410" y="12442"/>
                    <a:pt x="1239" y="12173"/>
                    <a:pt x="1219" y="11977"/>
                  </a:cubicBezTo>
                  <a:cubicBezTo>
                    <a:pt x="1253" y="11823"/>
                    <a:pt x="1299" y="11700"/>
                    <a:pt x="1299" y="11700"/>
                  </a:cubicBezTo>
                  <a:close/>
                  <a:moveTo>
                    <a:pt x="8547" y="11814"/>
                  </a:moveTo>
                  <a:cubicBezTo>
                    <a:pt x="8609" y="11814"/>
                    <a:pt x="8658" y="11898"/>
                    <a:pt x="8693" y="12064"/>
                  </a:cubicBezTo>
                  <a:cubicBezTo>
                    <a:pt x="8734" y="12255"/>
                    <a:pt x="8754" y="12537"/>
                    <a:pt x="8754" y="12909"/>
                  </a:cubicBezTo>
                  <a:lnTo>
                    <a:pt x="8754" y="12967"/>
                  </a:lnTo>
                  <a:lnTo>
                    <a:pt x="8466" y="12967"/>
                  </a:lnTo>
                  <a:cubicBezTo>
                    <a:pt x="8467" y="13120"/>
                    <a:pt x="8476" y="13237"/>
                    <a:pt x="8495" y="13320"/>
                  </a:cubicBezTo>
                  <a:cubicBezTo>
                    <a:pt x="8513" y="13404"/>
                    <a:pt x="8534" y="13445"/>
                    <a:pt x="8560" y="13445"/>
                  </a:cubicBezTo>
                  <a:cubicBezTo>
                    <a:pt x="8597" y="13445"/>
                    <a:pt x="8621" y="13354"/>
                    <a:pt x="8633" y="13170"/>
                  </a:cubicBezTo>
                  <a:cubicBezTo>
                    <a:pt x="8633" y="13170"/>
                    <a:pt x="8748" y="13255"/>
                    <a:pt x="8748" y="13255"/>
                  </a:cubicBezTo>
                  <a:cubicBezTo>
                    <a:pt x="8733" y="13448"/>
                    <a:pt x="8709" y="13592"/>
                    <a:pt x="8676" y="13686"/>
                  </a:cubicBezTo>
                  <a:cubicBezTo>
                    <a:pt x="8644" y="13779"/>
                    <a:pt x="8605" y="13825"/>
                    <a:pt x="8559" y="13825"/>
                  </a:cubicBezTo>
                  <a:cubicBezTo>
                    <a:pt x="8495" y="13825"/>
                    <a:pt x="8445" y="13748"/>
                    <a:pt x="8410" y="13592"/>
                  </a:cubicBezTo>
                  <a:cubicBezTo>
                    <a:pt x="8369" y="13411"/>
                    <a:pt x="8349" y="13158"/>
                    <a:pt x="8349" y="12832"/>
                  </a:cubicBezTo>
                  <a:cubicBezTo>
                    <a:pt x="8349" y="12510"/>
                    <a:pt x="8369" y="12252"/>
                    <a:pt x="8411" y="12059"/>
                  </a:cubicBezTo>
                  <a:cubicBezTo>
                    <a:pt x="8446" y="11896"/>
                    <a:pt x="8491" y="11814"/>
                    <a:pt x="8547" y="11814"/>
                  </a:cubicBezTo>
                  <a:close/>
                  <a:moveTo>
                    <a:pt x="9913" y="11814"/>
                  </a:moveTo>
                  <a:cubicBezTo>
                    <a:pt x="9963" y="11814"/>
                    <a:pt x="10005" y="11900"/>
                    <a:pt x="10041" y="12071"/>
                  </a:cubicBezTo>
                  <a:cubicBezTo>
                    <a:pt x="10077" y="12243"/>
                    <a:pt x="10095" y="12487"/>
                    <a:pt x="10095" y="12803"/>
                  </a:cubicBezTo>
                  <a:cubicBezTo>
                    <a:pt x="10095" y="13134"/>
                    <a:pt x="10077" y="13387"/>
                    <a:pt x="10041" y="13563"/>
                  </a:cubicBezTo>
                  <a:cubicBezTo>
                    <a:pt x="10005" y="13738"/>
                    <a:pt x="9962" y="13825"/>
                    <a:pt x="9913" y="13825"/>
                  </a:cubicBezTo>
                  <a:cubicBezTo>
                    <a:pt x="9890" y="13825"/>
                    <a:pt x="9869" y="13806"/>
                    <a:pt x="9849" y="13765"/>
                  </a:cubicBezTo>
                  <a:cubicBezTo>
                    <a:pt x="9829" y="13725"/>
                    <a:pt x="9808" y="13651"/>
                    <a:pt x="9786" y="13545"/>
                  </a:cubicBezTo>
                  <a:cubicBezTo>
                    <a:pt x="9786" y="13545"/>
                    <a:pt x="9786" y="14513"/>
                    <a:pt x="9786" y="14513"/>
                  </a:cubicBezTo>
                  <a:lnTo>
                    <a:pt x="9671" y="14513"/>
                  </a:lnTo>
                  <a:lnTo>
                    <a:pt x="9671" y="11858"/>
                  </a:lnTo>
                  <a:lnTo>
                    <a:pt x="9778" y="11858"/>
                  </a:lnTo>
                  <a:lnTo>
                    <a:pt x="9778" y="12140"/>
                  </a:lnTo>
                  <a:cubicBezTo>
                    <a:pt x="9793" y="12039"/>
                    <a:pt x="9812" y="11959"/>
                    <a:pt x="9836" y="11901"/>
                  </a:cubicBezTo>
                  <a:cubicBezTo>
                    <a:pt x="9860" y="11843"/>
                    <a:pt x="9885" y="11814"/>
                    <a:pt x="9913" y="11814"/>
                  </a:cubicBezTo>
                  <a:close/>
                  <a:moveTo>
                    <a:pt x="10388" y="11814"/>
                  </a:moveTo>
                  <a:cubicBezTo>
                    <a:pt x="10458" y="11814"/>
                    <a:pt x="10513" y="11914"/>
                    <a:pt x="10553" y="12113"/>
                  </a:cubicBezTo>
                  <a:cubicBezTo>
                    <a:pt x="10593" y="12312"/>
                    <a:pt x="10613" y="12544"/>
                    <a:pt x="10613" y="12810"/>
                  </a:cubicBezTo>
                  <a:cubicBezTo>
                    <a:pt x="10613" y="13008"/>
                    <a:pt x="10602" y="13186"/>
                    <a:pt x="10582" y="13345"/>
                  </a:cubicBezTo>
                  <a:cubicBezTo>
                    <a:pt x="10561" y="13505"/>
                    <a:pt x="10534" y="13625"/>
                    <a:pt x="10500" y="13706"/>
                  </a:cubicBezTo>
                  <a:cubicBezTo>
                    <a:pt x="10466" y="13786"/>
                    <a:pt x="10429" y="13825"/>
                    <a:pt x="10389" y="13825"/>
                  </a:cubicBezTo>
                  <a:cubicBezTo>
                    <a:pt x="10325" y="13825"/>
                    <a:pt x="10271" y="13736"/>
                    <a:pt x="10229" y="13557"/>
                  </a:cubicBezTo>
                  <a:cubicBezTo>
                    <a:pt x="10186" y="13378"/>
                    <a:pt x="10165" y="13124"/>
                    <a:pt x="10165" y="12793"/>
                  </a:cubicBezTo>
                  <a:cubicBezTo>
                    <a:pt x="10165" y="12605"/>
                    <a:pt x="10175" y="12432"/>
                    <a:pt x="10196" y="12278"/>
                  </a:cubicBezTo>
                  <a:cubicBezTo>
                    <a:pt x="10216" y="12123"/>
                    <a:pt x="10243" y="12007"/>
                    <a:pt x="10276" y="11930"/>
                  </a:cubicBezTo>
                  <a:cubicBezTo>
                    <a:pt x="10310" y="11853"/>
                    <a:pt x="10347" y="11814"/>
                    <a:pt x="10388" y="11814"/>
                  </a:cubicBezTo>
                  <a:close/>
                  <a:moveTo>
                    <a:pt x="11878" y="11814"/>
                  </a:moveTo>
                  <a:cubicBezTo>
                    <a:pt x="11927" y="11814"/>
                    <a:pt x="11964" y="11839"/>
                    <a:pt x="11990" y="11889"/>
                  </a:cubicBezTo>
                  <a:cubicBezTo>
                    <a:pt x="12015" y="11938"/>
                    <a:pt x="12033" y="12006"/>
                    <a:pt x="12044" y="12091"/>
                  </a:cubicBezTo>
                  <a:cubicBezTo>
                    <a:pt x="12055" y="12176"/>
                    <a:pt x="12061" y="12330"/>
                    <a:pt x="12061" y="12555"/>
                  </a:cubicBezTo>
                  <a:lnTo>
                    <a:pt x="12060" y="13150"/>
                  </a:lnTo>
                  <a:cubicBezTo>
                    <a:pt x="12060" y="13317"/>
                    <a:pt x="12062" y="13441"/>
                    <a:pt x="12065" y="13523"/>
                  </a:cubicBezTo>
                  <a:cubicBezTo>
                    <a:pt x="12069" y="13604"/>
                    <a:pt x="12076" y="13690"/>
                    <a:pt x="12086" y="13782"/>
                  </a:cubicBezTo>
                  <a:lnTo>
                    <a:pt x="11972" y="13782"/>
                  </a:lnTo>
                  <a:lnTo>
                    <a:pt x="11957" y="13572"/>
                  </a:lnTo>
                  <a:cubicBezTo>
                    <a:pt x="11938" y="13656"/>
                    <a:pt x="11917" y="13719"/>
                    <a:pt x="11894" y="13762"/>
                  </a:cubicBezTo>
                  <a:cubicBezTo>
                    <a:pt x="11872" y="13804"/>
                    <a:pt x="11848" y="13825"/>
                    <a:pt x="11822" y="13825"/>
                  </a:cubicBezTo>
                  <a:cubicBezTo>
                    <a:pt x="11780" y="13825"/>
                    <a:pt x="11746" y="13774"/>
                    <a:pt x="11719" y="13671"/>
                  </a:cubicBezTo>
                  <a:cubicBezTo>
                    <a:pt x="11692" y="13568"/>
                    <a:pt x="11679" y="13430"/>
                    <a:pt x="11679" y="13259"/>
                  </a:cubicBezTo>
                  <a:cubicBezTo>
                    <a:pt x="11679" y="13150"/>
                    <a:pt x="11684" y="13055"/>
                    <a:pt x="11695" y="12974"/>
                  </a:cubicBezTo>
                  <a:cubicBezTo>
                    <a:pt x="11706" y="12894"/>
                    <a:pt x="11721" y="12829"/>
                    <a:pt x="11741" y="12781"/>
                  </a:cubicBezTo>
                  <a:cubicBezTo>
                    <a:pt x="11761" y="12733"/>
                    <a:pt x="11793" y="12688"/>
                    <a:pt x="11837" y="12651"/>
                  </a:cubicBezTo>
                  <a:cubicBezTo>
                    <a:pt x="11890" y="12606"/>
                    <a:pt x="11927" y="12564"/>
                    <a:pt x="11948" y="12526"/>
                  </a:cubicBezTo>
                  <a:cubicBezTo>
                    <a:pt x="11948" y="12419"/>
                    <a:pt x="11946" y="12351"/>
                    <a:pt x="11942" y="12318"/>
                  </a:cubicBezTo>
                  <a:cubicBezTo>
                    <a:pt x="11938" y="12284"/>
                    <a:pt x="11930" y="12257"/>
                    <a:pt x="11919" y="12236"/>
                  </a:cubicBezTo>
                  <a:cubicBezTo>
                    <a:pt x="11908" y="12215"/>
                    <a:pt x="11892" y="12204"/>
                    <a:pt x="11872" y="12204"/>
                  </a:cubicBezTo>
                  <a:cubicBezTo>
                    <a:pt x="11851" y="12204"/>
                    <a:pt x="11835" y="12221"/>
                    <a:pt x="11823" y="12254"/>
                  </a:cubicBezTo>
                  <a:cubicBezTo>
                    <a:pt x="11812" y="12288"/>
                    <a:pt x="11802" y="12351"/>
                    <a:pt x="11795" y="12444"/>
                  </a:cubicBezTo>
                  <a:lnTo>
                    <a:pt x="11690" y="12361"/>
                  </a:lnTo>
                  <a:cubicBezTo>
                    <a:pt x="11703" y="12167"/>
                    <a:pt x="11724" y="12028"/>
                    <a:pt x="11753" y="11943"/>
                  </a:cubicBezTo>
                  <a:cubicBezTo>
                    <a:pt x="11782" y="11858"/>
                    <a:pt x="11824" y="11814"/>
                    <a:pt x="11878" y="11814"/>
                  </a:cubicBezTo>
                  <a:close/>
                  <a:moveTo>
                    <a:pt x="13495" y="11814"/>
                  </a:moveTo>
                  <a:cubicBezTo>
                    <a:pt x="13565" y="11814"/>
                    <a:pt x="13620" y="11914"/>
                    <a:pt x="13660" y="12113"/>
                  </a:cubicBezTo>
                  <a:cubicBezTo>
                    <a:pt x="13700" y="12312"/>
                    <a:pt x="13720" y="12544"/>
                    <a:pt x="13720" y="12810"/>
                  </a:cubicBezTo>
                  <a:cubicBezTo>
                    <a:pt x="13720" y="13008"/>
                    <a:pt x="13709" y="13186"/>
                    <a:pt x="13689" y="13345"/>
                  </a:cubicBezTo>
                  <a:cubicBezTo>
                    <a:pt x="13668" y="13505"/>
                    <a:pt x="13641" y="13625"/>
                    <a:pt x="13607" y="13706"/>
                  </a:cubicBezTo>
                  <a:cubicBezTo>
                    <a:pt x="13573" y="13786"/>
                    <a:pt x="13536" y="13825"/>
                    <a:pt x="13496" y="13825"/>
                  </a:cubicBezTo>
                  <a:cubicBezTo>
                    <a:pt x="13431" y="13825"/>
                    <a:pt x="13378" y="13736"/>
                    <a:pt x="13336" y="13557"/>
                  </a:cubicBezTo>
                  <a:cubicBezTo>
                    <a:pt x="13293" y="13378"/>
                    <a:pt x="13272" y="13124"/>
                    <a:pt x="13272" y="12793"/>
                  </a:cubicBezTo>
                  <a:cubicBezTo>
                    <a:pt x="13272" y="12605"/>
                    <a:pt x="13282" y="12432"/>
                    <a:pt x="13303" y="12278"/>
                  </a:cubicBezTo>
                  <a:cubicBezTo>
                    <a:pt x="13323" y="12123"/>
                    <a:pt x="13350" y="12007"/>
                    <a:pt x="13383" y="11930"/>
                  </a:cubicBezTo>
                  <a:cubicBezTo>
                    <a:pt x="13417" y="11853"/>
                    <a:pt x="13454" y="11814"/>
                    <a:pt x="13495" y="11814"/>
                  </a:cubicBezTo>
                  <a:close/>
                  <a:moveTo>
                    <a:pt x="14055" y="11814"/>
                  </a:moveTo>
                  <a:cubicBezTo>
                    <a:pt x="14105" y="11814"/>
                    <a:pt x="14148" y="11900"/>
                    <a:pt x="14183" y="12071"/>
                  </a:cubicBezTo>
                  <a:cubicBezTo>
                    <a:pt x="14219" y="12243"/>
                    <a:pt x="14237" y="12487"/>
                    <a:pt x="14237" y="12803"/>
                  </a:cubicBezTo>
                  <a:cubicBezTo>
                    <a:pt x="14237" y="13134"/>
                    <a:pt x="14219" y="13387"/>
                    <a:pt x="14183" y="13563"/>
                  </a:cubicBezTo>
                  <a:cubicBezTo>
                    <a:pt x="14148" y="13738"/>
                    <a:pt x="14104" y="13825"/>
                    <a:pt x="14055" y="13825"/>
                  </a:cubicBezTo>
                  <a:cubicBezTo>
                    <a:pt x="14032" y="13825"/>
                    <a:pt x="14011" y="13806"/>
                    <a:pt x="13991" y="13765"/>
                  </a:cubicBezTo>
                  <a:cubicBezTo>
                    <a:pt x="13971" y="13725"/>
                    <a:pt x="13950" y="13651"/>
                    <a:pt x="13928" y="13545"/>
                  </a:cubicBezTo>
                  <a:lnTo>
                    <a:pt x="13928" y="14513"/>
                  </a:lnTo>
                  <a:lnTo>
                    <a:pt x="13813" y="14513"/>
                  </a:lnTo>
                  <a:lnTo>
                    <a:pt x="13813" y="11858"/>
                  </a:lnTo>
                  <a:lnTo>
                    <a:pt x="13921" y="11858"/>
                  </a:lnTo>
                  <a:lnTo>
                    <a:pt x="13921" y="12140"/>
                  </a:lnTo>
                  <a:cubicBezTo>
                    <a:pt x="13935" y="12039"/>
                    <a:pt x="13954" y="11959"/>
                    <a:pt x="13978" y="11901"/>
                  </a:cubicBezTo>
                  <a:cubicBezTo>
                    <a:pt x="14002" y="11843"/>
                    <a:pt x="14028" y="11814"/>
                    <a:pt x="14055" y="11814"/>
                  </a:cubicBezTo>
                  <a:close/>
                  <a:moveTo>
                    <a:pt x="14881" y="11814"/>
                  </a:moveTo>
                  <a:cubicBezTo>
                    <a:pt x="14951" y="11814"/>
                    <a:pt x="15006" y="11914"/>
                    <a:pt x="15046" y="12113"/>
                  </a:cubicBezTo>
                  <a:cubicBezTo>
                    <a:pt x="15086" y="12312"/>
                    <a:pt x="15106" y="12544"/>
                    <a:pt x="15106" y="12810"/>
                  </a:cubicBezTo>
                  <a:cubicBezTo>
                    <a:pt x="15106" y="13008"/>
                    <a:pt x="15095" y="13186"/>
                    <a:pt x="15075" y="13345"/>
                  </a:cubicBezTo>
                  <a:cubicBezTo>
                    <a:pt x="15054" y="13505"/>
                    <a:pt x="15027" y="13625"/>
                    <a:pt x="14993" y="13706"/>
                  </a:cubicBezTo>
                  <a:cubicBezTo>
                    <a:pt x="14959" y="13786"/>
                    <a:pt x="14922" y="13825"/>
                    <a:pt x="14882" y="13825"/>
                  </a:cubicBezTo>
                  <a:cubicBezTo>
                    <a:pt x="14818" y="13825"/>
                    <a:pt x="14764" y="13736"/>
                    <a:pt x="14722" y="13557"/>
                  </a:cubicBezTo>
                  <a:cubicBezTo>
                    <a:pt x="14679" y="13378"/>
                    <a:pt x="14658" y="13124"/>
                    <a:pt x="14658" y="12793"/>
                  </a:cubicBezTo>
                  <a:cubicBezTo>
                    <a:pt x="14658" y="12605"/>
                    <a:pt x="14668" y="12432"/>
                    <a:pt x="14689" y="12278"/>
                  </a:cubicBezTo>
                  <a:cubicBezTo>
                    <a:pt x="14709" y="12123"/>
                    <a:pt x="14736" y="12007"/>
                    <a:pt x="14769" y="11930"/>
                  </a:cubicBezTo>
                  <a:cubicBezTo>
                    <a:pt x="14803" y="11853"/>
                    <a:pt x="14840" y="11814"/>
                    <a:pt x="14881" y="11814"/>
                  </a:cubicBezTo>
                  <a:close/>
                  <a:moveTo>
                    <a:pt x="15877" y="11814"/>
                  </a:moveTo>
                  <a:cubicBezTo>
                    <a:pt x="15926" y="11814"/>
                    <a:pt x="15963" y="11839"/>
                    <a:pt x="15989" y="11889"/>
                  </a:cubicBezTo>
                  <a:cubicBezTo>
                    <a:pt x="16014" y="11938"/>
                    <a:pt x="16033" y="12006"/>
                    <a:pt x="16044" y="12091"/>
                  </a:cubicBezTo>
                  <a:cubicBezTo>
                    <a:pt x="16055" y="12176"/>
                    <a:pt x="16060" y="12330"/>
                    <a:pt x="16060" y="12555"/>
                  </a:cubicBezTo>
                  <a:lnTo>
                    <a:pt x="16059" y="13150"/>
                  </a:lnTo>
                  <a:cubicBezTo>
                    <a:pt x="16059" y="13317"/>
                    <a:pt x="16061" y="13441"/>
                    <a:pt x="16064" y="13523"/>
                  </a:cubicBezTo>
                  <a:cubicBezTo>
                    <a:pt x="16068" y="13604"/>
                    <a:pt x="16075" y="13690"/>
                    <a:pt x="16085" y="13782"/>
                  </a:cubicBezTo>
                  <a:lnTo>
                    <a:pt x="15971" y="13782"/>
                  </a:lnTo>
                  <a:lnTo>
                    <a:pt x="15956" y="13572"/>
                  </a:lnTo>
                  <a:cubicBezTo>
                    <a:pt x="15937" y="13656"/>
                    <a:pt x="15916" y="13719"/>
                    <a:pt x="15893" y="13762"/>
                  </a:cubicBezTo>
                  <a:cubicBezTo>
                    <a:pt x="15871" y="13804"/>
                    <a:pt x="15847" y="13825"/>
                    <a:pt x="15821" y="13825"/>
                  </a:cubicBezTo>
                  <a:cubicBezTo>
                    <a:pt x="15779" y="13825"/>
                    <a:pt x="15745" y="13774"/>
                    <a:pt x="15718" y="13671"/>
                  </a:cubicBezTo>
                  <a:cubicBezTo>
                    <a:pt x="15691" y="13568"/>
                    <a:pt x="15678" y="13430"/>
                    <a:pt x="15678" y="13259"/>
                  </a:cubicBezTo>
                  <a:cubicBezTo>
                    <a:pt x="15678" y="13150"/>
                    <a:pt x="15683" y="13055"/>
                    <a:pt x="15694" y="12974"/>
                  </a:cubicBezTo>
                  <a:cubicBezTo>
                    <a:pt x="15705" y="12894"/>
                    <a:pt x="15720" y="12829"/>
                    <a:pt x="15740" y="12781"/>
                  </a:cubicBezTo>
                  <a:cubicBezTo>
                    <a:pt x="15760" y="12733"/>
                    <a:pt x="15792" y="12688"/>
                    <a:pt x="15836" y="12651"/>
                  </a:cubicBezTo>
                  <a:cubicBezTo>
                    <a:pt x="15889" y="12606"/>
                    <a:pt x="15926" y="12564"/>
                    <a:pt x="15947" y="12526"/>
                  </a:cubicBezTo>
                  <a:cubicBezTo>
                    <a:pt x="15947" y="12419"/>
                    <a:pt x="15945" y="12351"/>
                    <a:pt x="15941" y="12318"/>
                  </a:cubicBezTo>
                  <a:cubicBezTo>
                    <a:pt x="15937" y="12284"/>
                    <a:pt x="15929" y="12257"/>
                    <a:pt x="15918" y="12236"/>
                  </a:cubicBezTo>
                  <a:cubicBezTo>
                    <a:pt x="15907" y="12215"/>
                    <a:pt x="15891" y="12204"/>
                    <a:pt x="15871" y="12204"/>
                  </a:cubicBezTo>
                  <a:cubicBezTo>
                    <a:pt x="15850" y="12204"/>
                    <a:pt x="15834" y="12221"/>
                    <a:pt x="15822" y="12254"/>
                  </a:cubicBezTo>
                  <a:cubicBezTo>
                    <a:pt x="15811" y="12288"/>
                    <a:pt x="15801" y="12351"/>
                    <a:pt x="15794" y="12444"/>
                  </a:cubicBezTo>
                  <a:lnTo>
                    <a:pt x="15690" y="12361"/>
                  </a:lnTo>
                  <a:cubicBezTo>
                    <a:pt x="15702" y="12167"/>
                    <a:pt x="15723" y="12028"/>
                    <a:pt x="15752" y="11943"/>
                  </a:cubicBezTo>
                  <a:cubicBezTo>
                    <a:pt x="15781" y="11858"/>
                    <a:pt x="15823" y="11814"/>
                    <a:pt x="15877" y="11814"/>
                  </a:cubicBezTo>
                  <a:close/>
                  <a:moveTo>
                    <a:pt x="18116" y="11814"/>
                  </a:moveTo>
                  <a:cubicBezTo>
                    <a:pt x="18186" y="11814"/>
                    <a:pt x="18241" y="11914"/>
                    <a:pt x="18281" y="12113"/>
                  </a:cubicBezTo>
                  <a:cubicBezTo>
                    <a:pt x="18320" y="12312"/>
                    <a:pt x="18340" y="12544"/>
                    <a:pt x="18340" y="12810"/>
                  </a:cubicBezTo>
                  <a:cubicBezTo>
                    <a:pt x="18340" y="13008"/>
                    <a:pt x="18330" y="13186"/>
                    <a:pt x="18309" y="13345"/>
                  </a:cubicBezTo>
                  <a:cubicBezTo>
                    <a:pt x="18288" y="13505"/>
                    <a:pt x="18261" y="13625"/>
                    <a:pt x="18227" y="13706"/>
                  </a:cubicBezTo>
                  <a:cubicBezTo>
                    <a:pt x="18194" y="13786"/>
                    <a:pt x="18156" y="13825"/>
                    <a:pt x="18116" y="13825"/>
                  </a:cubicBezTo>
                  <a:cubicBezTo>
                    <a:pt x="18052" y="13825"/>
                    <a:pt x="17998" y="13736"/>
                    <a:pt x="17956" y="13557"/>
                  </a:cubicBezTo>
                  <a:cubicBezTo>
                    <a:pt x="17913" y="13378"/>
                    <a:pt x="17892" y="13124"/>
                    <a:pt x="17892" y="12793"/>
                  </a:cubicBezTo>
                  <a:cubicBezTo>
                    <a:pt x="17892" y="12605"/>
                    <a:pt x="17902" y="12432"/>
                    <a:pt x="17923" y="12278"/>
                  </a:cubicBezTo>
                  <a:cubicBezTo>
                    <a:pt x="17944" y="12123"/>
                    <a:pt x="17971" y="12007"/>
                    <a:pt x="18004" y="11930"/>
                  </a:cubicBezTo>
                  <a:cubicBezTo>
                    <a:pt x="18037" y="11853"/>
                    <a:pt x="18074" y="11814"/>
                    <a:pt x="18116" y="11814"/>
                  </a:cubicBezTo>
                  <a:close/>
                  <a:moveTo>
                    <a:pt x="19319" y="11814"/>
                  </a:moveTo>
                  <a:cubicBezTo>
                    <a:pt x="19367" y="11814"/>
                    <a:pt x="19405" y="11839"/>
                    <a:pt x="19430" y="11889"/>
                  </a:cubicBezTo>
                  <a:cubicBezTo>
                    <a:pt x="19456" y="11938"/>
                    <a:pt x="19474" y="12006"/>
                    <a:pt x="19485" y="12091"/>
                  </a:cubicBezTo>
                  <a:cubicBezTo>
                    <a:pt x="19496" y="12176"/>
                    <a:pt x="19501" y="12330"/>
                    <a:pt x="19501" y="12555"/>
                  </a:cubicBezTo>
                  <a:lnTo>
                    <a:pt x="19500" y="13150"/>
                  </a:lnTo>
                  <a:cubicBezTo>
                    <a:pt x="19500" y="13317"/>
                    <a:pt x="19502" y="13441"/>
                    <a:pt x="19506" y="13523"/>
                  </a:cubicBezTo>
                  <a:cubicBezTo>
                    <a:pt x="19510" y="13604"/>
                    <a:pt x="19516" y="13690"/>
                    <a:pt x="19526" y="13782"/>
                  </a:cubicBezTo>
                  <a:lnTo>
                    <a:pt x="19413" y="13782"/>
                  </a:lnTo>
                  <a:lnTo>
                    <a:pt x="19398" y="13572"/>
                  </a:lnTo>
                  <a:cubicBezTo>
                    <a:pt x="19378" y="13656"/>
                    <a:pt x="19357" y="13719"/>
                    <a:pt x="19335" y="13762"/>
                  </a:cubicBezTo>
                  <a:cubicBezTo>
                    <a:pt x="19312" y="13804"/>
                    <a:pt x="19288" y="13825"/>
                    <a:pt x="19263" y="13825"/>
                  </a:cubicBezTo>
                  <a:cubicBezTo>
                    <a:pt x="19221" y="13825"/>
                    <a:pt x="19186" y="13774"/>
                    <a:pt x="19159" y="13671"/>
                  </a:cubicBezTo>
                  <a:cubicBezTo>
                    <a:pt x="19132" y="13568"/>
                    <a:pt x="19119" y="13430"/>
                    <a:pt x="19119" y="13259"/>
                  </a:cubicBezTo>
                  <a:cubicBezTo>
                    <a:pt x="19119" y="13150"/>
                    <a:pt x="19124" y="13055"/>
                    <a:pt x="19135" y="12974"/>
                  </a:cubicBezTo>
                  <a:cubicBezTo>
                    <a:pt x="19146" y="12894"/>
                    <a:pt x="19162" y="12829"/>
                    <a:pt x="19182" y="12781"/>
                  </a:cubicBezTo>
                  <a:cubicBezTo>
                    <a:pt x="19202" y="12733"/>
                    <a:pt x="19234" y="12688"/>
                    <a:pt x="19277" y="12651"/>
                  </a:cubicBezTo>
                  <a:cubicBezTo>
                    <a:pt x="19330" y="12606"/>
                    <a:pt x="19368" y="12564"/>
                    <a:pt x="19389" y="12526"/>
                  </a:cubicBezTo>
                  <a:cubicBezTo>
                    <a:pt x="19389" y="12419"/>
                    <a:pt x="19387" y="12351"/>
                    <a:pt x="19382" y="12318"/>
                  </a:cubicBezTo>
                  <a:cubicBezTo>
                    <a:pt x="19378" y="12284"/>
                    <a:pt x="19371" y="12257"/>
                    <a:pt x="19359" y="12236"/>
                  </a:cubicBezTo>
                  <a:cubicBezTo>
                    <a:pt x="19348" y="12215"/>
                    <a:pt x="19333" y="12204"/>
                    <a:pt x="19312" y="12204"/>
                  </a:cubicBezTo>
                  <a:cubicBezTo>
                    <a:pt x="19292" y="12204"/>
                    <a:pt x="19276" y="12221"/>
                    <a:pt x="19264" y="12254"/>
                  </a:cubicBezTo>
                  <a:cubicBezTo>
                    <a:pt x="19252" y="12288"/>
                    <a:pt x="19242" y="12351"/>
                    <a:pt x="19235" y="12444"/>
                  </a:cubicBezTo>
                  <a:lnTo>
                    <a:pt x="19131" y="12361"/>
                  </a:lnTo>
                  <a:cubicBezTo>
                    <a:pt x="19144" y="12167"/>
                    <a:pt x="19165" y="12028"/>
                    <a:pt x="19194" y="11943"/>
                  </a:cubicBezTo>
                  <a:cubicBezTo>
                    <a:pt x="19223" y="11858"/>
                    <a:pt x="19264" y="11814"/>
                    <a:pt x="19319" y="11814"/>
                  </a:cubicBezTo>
                  <a:close/>
                  <a:moveTo>
                    <a:pt x="20721" y="11814"/>
                  </a:moveTo>
                  <a:cubicBezTo>
                    <a:pt x="20769" y="11814"/>
                    <a:pt x="20807" y="11839"/>
                    <a:pt x="20832" y="11889"/>
                  </a:cubicBezTo>
                  <a:cubicBezTo>
                    <a:pt x="20858" y="11938"/>
                    <a:pt x="20876" y="12006"/>
                    <a:pt x="20887" y="12091"/>
                  </a:cubicBezTo>
                  <a:cubicBezTo>
                    <a:pt x="20898" y="12176"/>
                    <a:pt x="20903" y="12330"/>
                    <a:pt x="20903" y="12555"/>
                  </a:cubicBezTo>
                  <a:lnTo>
                    <a:pt x="20902" y="13150"/>
                  </a:lnTo>
                  <a:cubicBezTo>
                    <a:pt x="20902" y="13317"/>
                    <a:pt x="20904" y="13441"/>
                    <a:pt x="20908" y="13523"/>
                  </a:cubicBezTo>
                  <a:cubicBezTo>
                    <a:pt x="20912" y="13604"/>
                    <a:pt x="20918" y="13690"/>
                    <a:pt x="20928" y="13782"/>
                  </a:cubicBezTo>
                  <a:lnTo>
                    <a:pt x="20815" y="13782"/>
                  </a:lnTo>
                  <a:lnTo>
                    <a:pt x="20800" y="13572"/>
                  </a:lnTo>
                  <a:cubicBezTo>
                    <a:pt x="20780" y="13656"/>
                    <a:pt x="20759" y="13719"/>
                    <a:pt x="20737" y="13762"/>
                  </a:cubicBezTo>
                  <a:cubicBezTo>
                    <a:pt x="20714" y="13804"/>
                    <a:pt x="20690" y="13825"/>
                    <a:pt x="20665" y="13825"/>
                  </a:cubicBezTo>
                  <a:cubicBezTo>
                    <a:pt x="20623" y="13825"/>
                    <a:pt x="20588" y="13774"/>
                    <a:pt x="20561" y="13671"/>
                  </a:cubicBezTo>
                  <a:cubicBezTo>
                    <a:pt x="20535" y="13568"/>
                    <a:pt x="20521" y="13430"/>
                    <a:pt x="20521" y="13259"/>
                  </a:cubicBezTo>
                  <a:cubicBezTo>
                    <a:pt x="20521" y="13150"/>
                    <a:pt x="20527" y="13055"/>
                    <a:pt x="20538" y="12974"/>
                  </a:cubicBezTo>
                  <a:cubicBezTo>
                    <a:pt x="20548" y="12894"/>
                    <a:pt x="20564" y="12829"/>
                    <a:pt x="20584" y="12781"/>
                  </a:cubicBezTo>
                  <a:cubicBezTo>
                    <a:pt x="20604" y="12733"/>
                    <a:pt x="20636" y="12688"/>
                    <a:pt x="20679" y="12651"/>
                  </a:cubicBezTo>
                  <a:cubicBezTo>
                    <a:pt x="20733" y="12606"/>
                    <a:pt x="20770" y="12564"/>
                    <a:pt x="20791" y="12526"/>
                  </a:cubicBezTo>
                  <a:cubicBezTo>
                    <a:pt x="20791" y="12419"/>
                    <a:pt x="20789" y="12351"/>
                    <a:pt x="20784" y="12318"/>
                  </a:cubicBezTo>
                  <a:cubicBezTo>
                    <a:pt x="20780" y="12284"/>
                    <a:pt x="20773" y="12257"/>
                    <a:pt x="20762" y="12236"/>
                  </a:cubicBezTo>
                  <a:cubicBezTo>
                    <a:pt x="20750" y="12215"/>
                    <a:pt x="20735" y="12204"/>
                    <a:pt x="20714" y="12204"/>
                  </a:cubicBezTo>
                  <a:cubicBezTo>
                    <a:pt x="20694" y="12204"/>
                    <a:pt x="20678" y="12221"/>
                    <a:pt x="20666" y="12254"/>
                  </a:cubicBezTo>
                  <a:cubicBezTo>
                    <a:pt x="20654" y="12288"/>
                    <a:pt x="20644" y="12351"/>
                    <a:pt x="20637" y="12444"/>
                  </a:cubicBezTo>
                  <a:lnTo>
                    <a:pt x="20533" y="12361"/>
                  </a:lnTo>
                  <a:cubicBezTo>
                    <a:pt x="20546" y="12167"/>
                    <a:pt x="20567" y="12028"/>
                    <a:pt x="20596" y="11943"/>
                  </a:cubicBezTo>
                  <a:cubicBezTo>
                    <a:pt x="20625" y="11858"/>
                    <a:pt x="20666" y="11814"/>
                    <a:pt x="20721" y="11814"/>
                  </a:cubicBezTo>
                  <a:close/>
                  <a:moveTo>
                    <a:pt x="7888" y="11872"/>
                  </a:moveTo>
                  <a:lnTo>
                    <a:pt x="8273" y="11872"/>
                  </a:lnTo>
                  <a:lnTo>
                    <a:pt x="8273" y="13794"/>
                  </a:lnTo>
                  <a:lnTo>
                    <a:pt x="8158" y="13794"/>
                  </a:lnTo>
                  <a:lnTo>
                    <a:pt x="8158" y="12272"/>
                  </a:lnTo>
                  <a:lnTo>
                    <a:pt x="8003" y="12272"/>
                  </a:lnTo>
                  <a:lnTo>
                    <a:pt x="8003" y="13150"/>
                  </a:lnTo>
                  <a:cubicBezTo>
                    <a:pt x="8003" y="13291"/>
                    <a:pt x="8000" y="13406"/>
                    <a:pt x="7995" y="13496"/>
                  </a:cubicBezTo>
                  <a:cubicBezTo>
                    <a:pt x="7990" y="13586"/>
                    <a:pt x="7981" y="13657"/>
                    <a:pt x="7968" y="13711"/>
                  </a:cubicBezTo>
                  <a:cubicBezTo>
                    <a:pt x="7955" y="13765"/>
                    <a:pt x="7943" y="13799"/>
                    <a:pt x="7930" y="13811"/>
                  </a:cubicBezTo>
                  <a:cubicBezTo>
                    <a:pt x="7918" y="13822"/>
                    <a:pt x="7900" y="13827"/>
                    <a:pt x="7879" y="13827"/>
                  </a:cubicBezTo>
                  <a:cubicBezTo>
                    <a:pt x="7865" y="13827"/>
                    <a:pt x="7841" y="13816"/>
                    <a:pt x="7807" y="13794"/>
                  </a:cubicBezTo>
                  <a:lnTo>
                    <a:pt x="7807" y="13420"/>
                  </a:lnTo>
                  <a:cubicBezTo>
                    <a:pt x="7816" y="13422"/>
                    <a:pt x="7832" y="13423"/>
                    <a:pt x="7854" y="13423"/>
                  </a:cubicBezTo>
                  <a:cubicBezTo>
                    <a:pt x="7868" y="13423"/>
                    <a:pt x="7877" y="13405"/>
                    <a:pt x="7881" y="13371"/>
                  </a:cubicBezTo>
                  <a:cubicBezTo>
                    <a:pt x="7885" y="13337"/>
                    <a:pt x="7888" y="13260"/>
                    <a:pt x="7888" y="13139"/>
                  </a:cubicBezTo>
                  <a:lnTo>
                    <a:pt x="7888" y="11872"/>
                  </a:lnTo>
                  <a:close/>
                  <a:moveTo>
                    <a:pt x="9143" y="11872"/>
                  </a:moveTo>
                  <a:cubicBezTo>
                    <a:pt x="9154" y="11872"/>
                    <a:pt x="9169" y="11877"/>
                    <a:pt x="9188" y="11887"/>
                  </a:cubicBezTo>
                  <a:lnTo>
                    <a:pt x="9188" y="12216"/>
                  </a:lnTo>
                  <a:lnTo>
                    <a:pt x="9176" y="12216"/>
                  </a:lnTo>
                  <a:cubicBezTo>
                    <a:pt x="9157" y="12216"/>
                    <a:pt x="9143" y="12226"/>
                    <a:pt x="9134" y="12245"/>
                  </a:cubicBezTo>
                  <a:cubicBezTo>
                    <a:pt x="9124" y="12265"/>
                    <a:pt x="9115" y="12328"/>
                    <a:pt x="9107" y="12437"/>
                  </a:cubicBezTo>
                  <a:cubicBezTo>
                    <a:pt x="9099" y="12545"/>
                    <a:pt x="9091" y="12628"/>
                    <a:pt x="9083" y="12685"/>
                  </a:cubicBezTo>
                  <a:cubicBezTo>
                    <a:pt x="9075" y="12742"/>
                    <a:pt x="9063" y="12787"/>
                    <a:pt x="9045" y="12821"/>
                  </a:cubicBezTo>
                  <a:cubicBezTo>
                    <a:pt x="9060" y="12840"/>
                    <a:pt x="9075" y="12878"/>
                    <a:pt x="9089" y="12935"/>
                  </a:cubicBezTo>
                  <a:cubicBezTo>
                    <a:pt x="9104" y="12992"/>
                    <a:pt x="9122" y="13107"/>
                    <a:pt x="9142" y="13279"/>
                  </a:cubicBezTo>
                  <a:lnTo>
                    <a:pt x="9206" y="13809"/>
                  </a:lnTo>
                  <a:lnTo>
                    <a:pt x="9083" y="13809"/>
                  </a:lnTo>
                  <a:lnTo>
                    <a:pt x="9025" y="13253"/>
                  </a:lnTo>
                  <a:cubicBezTo>
                    <a:pt x="9013" y="13141"/>
                    <a:pt x="9003" y="13068"/>
                    <a:pt x="8995" y="13036"/>
                  </a:cubicBezTo>
                  <a:cubicBezTo>
                    <a:pt x="8987" y="13004"/>
                    <a:pt x="8974" y="12989"/>
                    <a:pt x="8958" y="12989"/>
                  </a:cubicBezTo>
                  <a:lnTo>
                    <a:pt x="8958" y="13809"/>
                  </a:lnTo>
                  <a:lnTo>
                    <a:pt x="8843" y="13809"/>
                  </a:lnTo>
                  <a:lnTo>
                    <a:pt x="8843" y="11887"/>
                  </a:lnTo>
                  <a:lnTo>
                    <a:pt x="8958" y="11887"/>
                  </a:lnTo>
                  <a:lnTo>
                    <a:pt x="8958" y="12669"/>
                  </a:lnTo>
                  <a:cubicBezTo>
                    <a:pt x="8973" y="12663"/>
                    <a:pt x="8985" y="12644"/>
                    <a:pt x="8993" y="12613"/>
                  </a:cubicBezTo>
                  <a:cubicBezTo>
                    <a:pt x="9002" y="12581"/>
                    <a:pt x="9012" y="12490"/>
                    <a:pt x="9024" y="12336"/>
                  </a:cubicBezTo>
                  <a:cubicBezTo>
                    <a:pt x="9037" y="12182"/>
                    <a:pt x="9050" y="12066"/>
                    <a:pt x="9065" y="11988"/>
                  </a:cubicBezTo>
                  <a:cubicBezTo>
                    <a:pt x="9080" y="11911"/>
                    <a:pt x="9106" y="11872"/>
                    <a:pt x="9143" y="11872"/>
                  </a:cubicBezTo>
                  <a:close/>
                  <a:moveTo>
                    <a:pt x="9209" y="11872"/>
                  </a:moveTo>
                  <a:lnTo>
                    <a:pt x="9602" y="11872"/>
                  </a:lnTo>
                  <a:lnTo>
                    <a:pt x="9602" y="12272"/>
                  </a:lnTo>
                  <a:lnTo>
                    <a:pt x="9463" y="12272"/>
                  </a:lnTo>
                  <a:lnTo>
                    <a:pt x="9463" y="13794"/>
                  </a:lnTo>
                  <a:lnTo>
                    <a:pt x="9348" y="13794"/>
                  </a:lnTo>
                  <a:cubicBezTo>
                    <a:pt x="9348" y="13794"/>
                    <a:pt x="9348" y="12272"/>
                    <a:pt x="9348" y="12272"/>
                  </a:cubicBezTo>
                  <a:lnTo>
                    <a:pt x="9209" y="12272"/>
                  </a:lnTo>
                  <a:lnTo>
                    <a:pt x="9209" y="11872"/>
                  </a:lnTo>
                  <a:close/>
                  <a:moveTo>
                    <a:pt x="10691" y="11872"/>
                  </a:moveTo>
                  <a:lnTo>
                    <a:pt x="10806" y="11872"/>
                  </a:lnTo>
                  <a:lnTo>
                    <a:pt x="10806" y="12573"/>
                  </a:lnTo>
                  <a:lnTo>
                    <a:pt x="10970" y="12573"/>
                  </a:lnTo>
                  <a:lnTo>
                    <a:pt x="10970" y="11872"/>
                  </a:lnTo>
                  <a:lnTo>
                    <a:pt x="11085" y="11872"/>
                  </a:lnTo>
                  <a:lnTo>
                    <a:pt x="11085" y="13794"/>
                  </a:lnTo>
                  <a:lnTo>
                    <a:pt x="10970" y="13794"/>
                  </a:lnTo>
                  <a:lnTo>
                    <a:pt x="10970" y="12987"/>
                  </a:lnTo>
                  <a:lnTo>
                    <a:pt x="10806" y="12987"/>
                  </a:lnTo>
                  <a:cubicBezTo>
                    <a:pt x="10806" y="12987"/>
                    <a:pt x="10806" y="13794"/>
                    <a:pt x="10806" y="13794"/>
                  </a:cubicBezTo>
                  <a:lnTo>
                    <a:pt x="10691" y="13794"/>
                  </a:lnTo>
                  <a:lnTo>
                    <a:pt x="10691" y="11872"/>
                  </a:lnTo>
                  <a:close/>
                  <a:moveTo>
                    <a:pt x="11201" y="11872"/>
                  </a:moveTo>
                  <a:lnTo>
                    <a:pt x="11316" y="11872"/>
                  </a:lnTo>
                  <a:lnTo>
                    <a:pt x="11316" y="12573"/>
                  </a:lnTo>
                  <a:lnTo>
                    <a:pt x="11480" y="12573"/>
                  </a:lnTo>
                  <a:lnTo>
                    <a:pt x="11480" y="11872"/>
                  </a:lnTo>
                  <a:lnTo>
                    <a:pt x="11595" y="11872"/>
                  </a:lnTo>
                  <a:lnTo>
                    <a:pt x="11595" y="13794"/>
                  </a:lnTo>
                  <a:lnTo>
                    <a:pt x="11480" y="13794"/>
                  </a:lnTo>
                  <a:lnTo>
                    <a:pt x="11480" y="12987"/>
                  </a:lnTo>
                  <a:lnTo>
                    <a:pt x="11316" y="12987"/>
                  </a:lnTo>
                  <a:cubicBezTo>
                    <a:pt x="11316" y="12987"/>
                    <a:pt x="11316" y="13794"/>
                    <a:pt x="11316" y="13794"/>
                  </a:cubicBezTo>
                  <a:lnTo>
                    <a:pt x="11201" y="13794"/>
                  </a:lnTo>
                  <a:lnTo>
                    <a:pt x="11201" y="11872"/>
                  </a:lnTo>
                  <a:close/>
                  <a:moveTo>
                    <a:pt x="12307" y="11872"/>
                  </a:moveTo>
                  <a:lnTo>
                    <a:pt x="12543" y="11872"/>
                  </a:lnTo>
                  <a:lnTo>
                    <a:pt x="12543" y="13794"/>
                  </a:lnTo>
                  <a:lnTo>
                    <a:pt x="12428" y="13794"/>
                  </a:lnTo>
                  <a:lnTo>
                    <a:pt x="12428" y="12994"/>
                  </a:lnTo>
                  <a:lnTo>
                    <a:pt x="12408" y="12994"/>
                  </a:lnTo>
                  <a:cubicBezTo>
                    <a:pt x="12387" y="12994"/>
                    <a:pt x="12370" y="13014"/>
                    <a:pt x="12357" y="13054"/>
                  </a:cubicBezTo>
                  <a:cubicBezTo>
                    <a:pt x="12343" y="13094"/>
                    <a:pt x="12330" y="13161"/>
                    <a:pt x="12317" y="13257"/>
                  </a:cubicBezTo>
                  <a:lnTo>
                    <a:pt x="12242" y="13794"/>
                  </a:lnTo>
                  <a:lnTo>
                    <a:pt x="12109" y="13794"/>
                  </a:lnTo>
                  <a:lnTo>
                    <a:pt x="12190" y="13239"/>
                  </a:lnTo>
                  <a:cubicBezTo>
                    <a:pt x="12214" y="13080"/>
                    <a:pt x="12235" y="12988"/>
                    <a:pt x="12255" y="12960"/>
                  </a:cubicBezTo>
                  <a:cubicBezTo>
                    <a:pt x="12221" y="12948"/>
                    <a:pt x="12195" y="12891"/>
                    <a:pt x="12175" y="12792"/>
                  </a:cubicBezTo>
                  <a:cubicBezTo>
                    <a:pt x="12156" y="12693"/>
                    <a:pt x="12147" y="12568"/>
                    <a:pt x="12147" y="12417"/>
                  </a:cubicBezTo>
                  <a:cubicBezTo>
                    <a:pt x="12147" y="12231"/>
                    <a:pt x="12160" y="12093"/>
                    <a:pt x="12185" y="12004"/>
                  </a:cubicBezTo>
                  <a:cubicBezTo>
                    <a:pt x="12211" y="11916"/>
                    <a:pt x="12252" y="11872"/>
                    <a:pt x="12307" y="11872"/>
                  </a:cubicBezTo>
                  <a:close/>
                  <a:moveTo>
                    <a:pt x="12842" y="11872"/>
                  </a:moveTo>
                  <a:lnTo>
                    <a:pt x="13235" y="11872"/>
                  </a:lnTo>
                  <a:lnTo>
                    <a:pt x="13235" y="12272"/>
                  </a:lnTo>
                  <a:lnTo>
                    <a:pt x="13096" y="12272"/>
                  </a:lnTo>
                  <a:lnTo>
                    <a:pt x="13096" y="13794"/>
                  </a:lnTo>
                  <a:lnTo>
                    <a:pt x="12981" y="13794"/>
                  </a:lnTo>
                  <a:cubicBezTo>
                    <a:pt x="12981" y="13794"/>
                    <a:pt x="12981" y="12272"/>
                    <a:pt x="12981" y="12272"/>
                  </a:cubicBezTo>
                  <a:lnTo>
                    <a:pt x="12842" y="12272"/>
                  </a:lnTo>
                  <a:lnTo>
                    <a:pt x="12842" y="11872"/>
                  </a:lnTo>
                  <a:close/>
                  <a:moveTo>
                    <a:pt x="14323" y="11872"/>
                  </a:moveTo>
                  <a:lnTo>
                    <a:pt x="14616" y="11872"/>
                  </a:lnTo>
                  <a:cubicBezTo>
                    <a:pt x="14616" y="11872"/>
                    <a:pt x="14616" y="12272"/>
                    <a:pt x="14616" y="12272"/>
                  </a:cubicBezTo>
                  <a:lnTo>
                    <a:pt x="14438" y="12272"/>
                  </a:lnTo>
                  <a:lnTo>
                    <a:pt x="14438" y="13794"/>
                  </a:lnTo>
                  <a:lnTo>
                    <a:pt x="14323" y="13794"/>
                  </a:lnTo>
                  <a:lnTo>
                    <a:pt x="14323" y="11872"/>
                  </a:lnTo>
                  <a:close/>
                  <a:moveTo>
                    <a:pt x="15184" y="11872"/>
                  </a:moveTo>
                  <a:lnTo>
                    <a:pt x="15443" y="11872"/>
                  </a:lnTo>
                  <a:cubicBezTo>
                    <a:pt x="15539" y="11872"/>
                    <a:pt x="15588" y="12039"/>
                    <a:pt x="15588" y="12374"/>
                  </a:cubicBezTo>
                  <a:cubicBezTo>
                    <a:pt x="15588" y="12598"/>
                    <a:pt x="15564" y="12743"/>
                    <a:pt x="15515" y="12810"/>
                  </a:cubicBezTo>
                  <a:cubicBezTo>
                    <a:pt x="15574" y="12884"/>
                    <a:pt x="15603" y="13044"/>
                    <a:pt x="15603" y="13289"/>
                  </a:cubicBezTo>
                  <a:cubicBezTo>
                    <a:pt x="15603" y="13440"/>
                    <a:pt x="15591" y="13562"/>
                    <a:pt x="15566" y="13655"/>
                  </a:cubicBezTo>
                  <a:cubicBezTo>
                    <a:pt x="15541" y="13748"/>
                    <a:pt x="15508" y="13794"/>
                    <a:pt x="15466" y="13794"/>
                  </a:cubicBezTo>
                  <a:lnTo>
                    <a:pt x="15184" y="13794"/>
                  </a:lnTo>
                  <a:lnTo>
                    <a:pt x="15184" y="11872"/>
                  </a:lnTo>
                  <a:close/>
                  <a:moveTo>
                    <a:pt x="16306" y="11872"/>
                  </a:moveTo>
                  <a:lnTo>
                    <a:pt x="16542" y="11872"/>
                  </a:lnTo>
                  <a:lnTo>
                    <a:pt x="16542" y="13794"/>
                  </a:lnTo>
                  <a:lnTo>
                    <a:pt x="16427" y="13794"/>
                  </a:lnTo>
                  <a:lnTo>
                    <a:pt x="16427" y="12994"/>
                  </a:lnTo>
                  <a:lnTo>
                    <a:pt x="16407" y="12994"/>
                  </a:lnTo>
                  <a:cubicBezTo>
                    <a:pt x="16386" y="12994"/>
                    <a:pt x="16369" y="13014"/>
                    <a:pt x="16356" y="13054"/>
                  </a:cubicBezTo>
                  <a:cubicBezTo>
                    <a:pt x="16342" y="13094"/>
                    <a:pt x="16329" y="13161"/>
                    <a:pt x="16316" y="13257"/>
                  </a:cubicBezTo>
                  <a:lnTo>
                    <a:pt x="16241" y="13794"/>
                  </a:lnTo>
                  <a:lnTo>
                    <a:pt x="16108" y="13794"/>
                  </a:lnTo>
                  <a:lnTo>
                    <a:pt x="16189" y="13239"/>
                  </a:lnTo>
                  <a:cubicBezTo>
                    <a:pt x="16213" y="13080"/>
                    <a:pt x="16234" y="12988"/>
                    <a:pt x="16254" y="12960"/>
                  </a:cubicBezTo>
                  <a:cubicBezTo>
                    <a:pt x="16220" y="12948"/>
                    <a:pt x="16194" y="12891"/>
                    <a:pt x="16174" y="12792"/>
                  </a:cubicBezTo>
                  <a:cubicBezTo>
                    <a:pt x="16155" y="12693"/>
                    <a:pt x="16146" y="12568"/>
                    <a:pt x="16146" y="12417"/>
                  </a:cubicBezTo>
                  <a:cubicBezTo>
                    <a:pt x="16146" y="12231"/>
                    <a:pt x="16159" y="12093"/>
                    <a:pt x="16184" y="12004"/>
                  </a:cubicBezTo>
                  <a:cubicBezTo>
                    <a:pt x="16210" y="11916"/>
                    <a:pt x="16251" y="11872"/>
                    <a:pt x="16306" y="11872"/>
                  </a:cubicBezTo>
                  <a:close/>
                  <a:moveTo>
                    <a:pt x="16888" y="11872"/>
                  </a:moveTo>
                  <a:lnTo>
                    <a:pt x="17274" y="11872"/>
                  </a:lnTo>
                  <a:lnTo>
                    <a:pt x="17274" y="13794"/>
                  </a:lnTo>
                  <a:lnTo>
                    <a:pt x="17158" y="13794"/>
                  </a:lnTo>
                  <a:lnTo>
                    <a:pt x="17158" y="12272"/>
                  </a:lnTo>
                  <a:lnTo>
                    <a:pt x="17003" y="12272"/>
                  </a:lnTo>
                  <a:lnTo>
                    <a:pt x="17003" y="13794"/>
                  </a:lnTo>
                  <a:lnTo>
                    <a:pt x="16888" y="13794"/>
                  </a:lnTo>
                  <a:cubicBezTo>
                    <a:pt x="16888" y="13794"/>
                    <a:pt x="16888" y="11872"/>
                    <a:pt x="16888" y="11872"/>
                  </a:cubicBezTo>
                  <a:close/>
                  <a:moveTo>
                    <a:pt x="17431" y="11872"/>
                  </a:moveTo>
                  <a:lnTo>
                    <a:pt x="17817" y="11872"/>
                  </a:lnTo>
                  <a:lnTo>
                    <a:pt x="17817" y="13794"/>
                  </a:lnTo>
                  <a:lnTo>
                    <a:pt x="17702" y="13794"/>
                  </a:lnTo>
                  <a:lnTo>
                    <a:pt x="17702" y="12272"/>
                  </a:lnTo>
                  <a:lnTo>
                    <a:pt x="17547" y="12272"/>
                  </a:lnTo>
                  <a:lnTo>
                    <a:pt x="17547" y="13150"/>
                  </a:lnTo>
                  <a:cubicBezTo>
                    <a:pt x="17547" y="13291"/>
                    <a:pt x="17544" y="13406"/>
                    <a:pt x="17539" y="13496"/>
                  </a:cubicBezTo>
                  <a:cubicBezTo>
                    <a:pt x="17533" y="13586"/>
                    <a:pt x="17525" y="13657"/>
                    <a:pt x="17512" y="13711"/>
                  </a:cubicBezTo>
                  <a:cubicBezTo>
                    <a:pt x="17499" y="13765"/>
                    <a:pt x="17486" y="13799"/>
                    <a:pt x="17474" y="13811"/>
                  </a:cubicBezTo>
                  <a:cubicBezTo>
                    <a:pt x="17462" y="13822"/>
                    <a:pt x="17444" y="13827"/>
                    <a:pt x="17422" y="13827"/>
                  </a:cubicBezTo>
                  <a:cubicBezTo>
                    <a:pt x="17409" y="13827"/>
                    <a:pt x="17385" y="13816"/>
                    <a:pt x="17351" y="13794"/>
                  </a:cubicBezTo>
                  <a:lnTo>
                    <a:pt x="17351" y="13420"/>
                  </a:lnTo>
                  <a:cubicBezTo>
                    <a:pt x="17360" y="13422"/>
                    <a:pt x="17375" y="13423"/>
                    <a:pt x="17398" y="13423"/>
                  </a:cubicBezTo>
                  <a:cubicBezTo>
                    <a:pt x="17411" y="13423"/>
                    <a:pt x="17420" y="13405"/>
                    <a:pt x="17425" y="13371"/>
                  </a:cubicBezTo>
                  <a:cubicBezTo>
                    <a:pt x="17429" y="13337"/>
                    <a:pt x="17431" y="13260"/>
                    <a:pt x="17431" y="13139"/>
                  </a:cubicBezTo>
                  <a:cubicBezTo>
                    <a:pt x="17431" y="13139"/>
                    <a:pt x="17431" y="11872"/>
                    <a:pt x="17431" y="11872"/>
                  </a:cubicBezTo>
                  <a:close/>
                  <a:moveTo>
                    <a:pt x="18434" y="11872"/>
                  </a:moveTo>
                  <a:lnTo>
                    <a:pt x="18549" y="11872"/>
                  </a:lnTo>
                  <a:lnTo>
                    <a:pt x="18549" y="13383"/>
                  </a:lnTo>
                  <a:lnTo>
                    <a:pt x="18667" y="13383"/>
                  </a:lnTo>
                  <a:lnTo>
                    <a:pt x="18667" y="11872"/>
                  </a:lnTo>
                  <a:lnTo>
                    <a:pt x="18782" y="11872"/>
                  </a:lnTo>
                  <a:lnTo>
                    <a:pt x="18782" y="13383"/>
                  </a:lnTo>
                  <a:lnTo>
                    <a:pt x="18902" y="13383"/>
                  </a:lnTo>
                  <a:lnTo>
                    <a:pt x="18902" y="11872"/>
                  </a:lnTo>
                  <a:lnTo>
                    <a:pt x="19017" y="11872"/>
                  </a:lnTo>
                  <a:cubicBezTo>
                    <a:pt x="19017" y="11872"/>
                    <a:pt x="19017" y="13383"/>
                    <a:pt x="19017" y="13383"/>
                  </a:cubicBezTo>
                  <a:lnTo>
                    <a:pt x="19063" y="13383"/>
                  </a:lnTo>
                  <a:lnTo>
                    <a:pt x="19063" y="14303"/>
                  </a:lnTo>
                  <a:lnTo>
                    <a:pt x="18971" y="14303"/>
                  </a:lnTo>
                  <a:lnTo>
                    <a:pt x="18971" y="13794"/>
                  </a:lnTo>
                  <a:lnTo>
                    <a:pt x="18434" y="13794"/>
                  </a:lnTo>
                  <a:lnTo>
                    <a:pt x="18434" y="11872"/>
                  </a:lnTo>
                  <a:close/>
                  <a:moveTo>
                    <a:pt x="19666" y="11872"/>
                  </a:moveTo>
                  <a:lnTo>
                    <a:pt x="20018" y="11872"/>
                  </a:lnTo>
                  <a:cubicBezTo>
                    <a:pt x="20018" y="11872"/>
                    <a:pt x="20018" y="13373"/>
                    <a:pt x="20018" y="13373"/>
                  </a:cubicBezTo>
                  <a:lnTo>
                    <a:pt x="20064" y="13373"/>
                  </a:lnTo>
                  <a:lnTo>
                    <a:pt x="20064" y="14303"/>
                  </a:lnTo>
                  <a:lnTo>
                    <a:pt x="19971" y="14303"/>
                  </a:lnTo>
                  <a:lnTo>
                    <a:pt x="19971" y="13794"/>
                  </a:lnTo>
                  <a:lnTo>
                    <a:pt x="19642" y="13794"/>
                  </a:lnTo>
                  <a:lnTo>
                    <a:pt x="19642" y="14303"/>
                  </a:lnTo>
                  <a:lnTo>
                    <a:pt x="19549" y="14303"/>
                  </a:lnTo>
                  <a:lnTo>
                    <a:pt x="19549" y="13373"/>
                  </a:lnTo>
                  <a:lnTo>
                    <a:pt x="19595" y="13373"/>
                  </a:lnTo>
                  <a:cubicBezTo>
                    <a:pt x="19640" y="13142"/>
                    <a:pt x="19664" y="12641"/>
                    <a:pt x="19666" y="11872"/>
                  </a:cubicBezTo>
                  <a:close/>
                  <a:moveTo>
                    <a:pt x="20439" y="11872"/>
                  </a:moveTo>
                  <a:cubicBezTo>
                    <a:pt x="20450" y="11872"/>
                    <a:pt x="20465" y="11877"/>
                    <a:pt x="20484" y="11887"/>
                  </a:cubicBezTo>
                  <a:lnTo>
                    <a:pt x="20484" y="12216"/>
                  </a:lnTo>
                  <a:lnTo>
                    <a:pt x="20472" y="12216"/>
                  </a:lnTo>
                  <a:cubicBezTo>
                    <a:pt x="20453" y="12216"/>
                    <a:pt x="20440" y="12226"/>
                    <a:pt x="20430" y="12245"/>
                  </a:cubicBezTo>
                  <a:cubicBezTo>
                    <a:pt x="20421" y="12265"/>
                    <a:pt x="20411" y="12328"/>
                    <a:pt x="20403" y="12437"/>
                  </a:cubicBezTo>
                  <a:cubicBezTo>
                    <a:pt x="20395" y="12545"/>
                    <a:pt x="20387" y="12628"/>
                    <a:pt x="20379" y="12685"/>
                  </a:cubicBezTo>
                  <a:cubicBezTo>
                    <a:pt x="20372" y="12742"/>
                    <a:pt x="20359" y="12787"/>
                    <a:pt x="20341" y="12821"/>
                  </a:cubicBezTo>
                  <a:cubicBezTo>
                    <a:pt x="20356" y="12840"/>
                    <a:pt x="20371" y="12878"/>
                    <a:pt x="20386" y="12935"/>
                  </a:cubicBezTo>
                  <a:cubicBezTo>
                    <a:pt x="20400" y="12992"/>
                    <a:pt x="20418" y="13107"/>
                    <a:pt x="20438" y="13279"/>
                  </a:cubicBezTo>
                  <a:lnTo>
                    <a:pt x="20502" y="13809"/>
                  </a:lnTo>
                  <a:lnTo>
                    <a:pt x="20379" y="13809"/>
                  </a:lnTo>
                  <a:lnTo>
                    <a:pt x="20321" y="13253"/>
                  </a:lnTo>
                  <a:cubicBezTo>
                    <a:pt x="20309" y="13141"/>
                    <a:pt x="20299" y="13068"/>
                    <a:pt x="20291" y="13036"/>
                  </a:cubicBezTo>
                  <a:cubicBezTo>
                    <a:pt x="20283" y="13004"/>
                    <a:pt x="20270" y="12989"/>
                    <a:pt x="20254" y="12989"/>
                  </a:cubicBezTo>
                  <a:lnTo>
                    <a:pt x="20254" y="13809"/>
                  </a:lnTo>
                  <a:lnTo>
                    <a:pt x="20139" y="13809"/>
                  </a:lnTo>
                  <a:lnTo>
                    <a:pt x="20139" y="11887"/>
                  </a:lnTo>
                  <a:lnTo>
                    <a:pt x="20254" y="11887"/>
                  </a:lnTo>
                  <a:lnTo>
                    <a:pt x="20254" y="12669"/>
                  </a:lnTo>
                  <a:cubicBezTo>
                    <a:pt x="20269" y="12663"/>
                    <a:pt x="20281" y="12644"/>
                    <a:pt x="20290" y="12613"/>
                  </a:cubicBezTo>
                  <a:cubicBezTo>
                    <a:pt x="20298" y="12581"/>
                    <a:pt x="20308" y="12490"/>
                    <a:pt x="20320" y="12336"/>
                  </a:cubicBezTo>
                  <a:cubicBezTo>
                    <a:pt x="20333" y="12182"/>
                    <a:pt x="20346" y="12066"/>
                    <a:pt x="20361" y="11988"/>
                  </a:cubicBezTo>
                  <a:cubicBezTo>
                    <a:pt x="20376" y="11911"/>
                    <a:pt x="20402" y="11872"/>
                    <a:pt x="20439" y="11872"/>
                  </a:cubicBezTo>
                  <a:close/>
                  <a:moveTo>
                    <a:pt x="12336" y="12194"/>
                  </a:moveTo>
                  <a:cubicBezTo>
                    <a:pt x="12288" y="12194"/>
                    <a:pt x="12265" y="12277"/>
                    <a:pt x="12265" y="12444"/>
                  </a:cubicBezTo>
                  <a:cubicBezTo>
                    <a:pt x="12265" y="12609"/>
                    <a:pt x="12291" y="12692"/>
                    <a:pt x="12344" y="12692"/>
                  </a:cubicBezTo>
                  <a:lnTo>
                    <a:pt x="12428" y="12692"/>
                  </a:lnTo>
                  <a:lnTo>
                    <a:pt x="12428" y="12194"/>
                  </a:lnTo>
                  <a:lnTo>
                    <a:pt x="12336" y="12194"/>
                  </a:lnTo>
                  <a:close/>
                  <a:moveTo>
                    <a:pt x="15299" y="12194"/>
                  </a:moveTo>
                  <a:cubicBezTo>
                    <a:pt x="15299" y="12194"/>
                    <a:pt x="15299" y="12665"/>
                    <a:pt x="15299" y="12665"/>
                  </a:cubicBezTo>
                  <a:lnTo>
                    <a:pt x="15383" y="12665"/>
                  </a:lnTo>
                  <a:cubicBezTo>
                    <a:pt x="15445" y="12665"/>
                    <a:pt x="15476" y="12584"/>
                    <a:pt x="15476" y="12421"/>
                  </a:cubicBezTo>
                  <a:cubicBezTo>
                    <a:pt x="15476" y="12270"/>
                    <a:pt x="15445" y="12194"/>
                    <a:pt x="15383" y="12194"/>
                  </a:cubicBezTo>
                  <a:lnTo>
                    <a:pt x="15299" y="12194"/>
                  </a:lnTo>
                  <a:close/>
                  <a:moveTo>
                    <a:pt x="16335" y="12194"/>
                  </a:moveTo>
                  <a:cubicBezTo>
                    <a:pt x="16287" y="12194"/>
                    <a:pt x="16264" y="12277"/>
                    <a:pt x="16264" y="12444"/>
                  </a:cubicBezTo>
                  <a:cubicBezTo>
                    <a:pt x="16264" y="12609"/>
                    <a:pt x="16290" y="12692"/>
                    <a:pt x="16343" y="12692"/>
                  </a:cubicBezTo>
                  <a:lnTo>
                    <a:pt x="16427" y="12692"/>
                  </a:lnTo>
                  <a:lnTo>
                    <a:pt x="16427" y="12194"/>
                  </a:lnTo>
                  <a:cubicBezTo>
                    <a:pt x="16427" y="12194"/>
                    <a:pt x="16335" y="12194"/>
                    <a:pt x="16335" y="12194"/>
                  </a:cubicBezTo>
                  <a:close/>
                  <a:moveTo>
                    <a:pt x="8554" y="12204"/>
                  </a:moveTo>
                  <a:cubicBezTo>
                    <a:pt x="8530" y="12204"/>
                    <a:pt x="8510" y="12243"/>
                    <a:pt x="8493" y="12321"/>
                  </a:cubicBezTo>
                  <a:cubicBezTo>
                    <a:pt x="8476" y="12401"/>
                    <a:pt x="8468" y="12512"/>
                    <a:pt x="8468" y="12654"/>
                  </a:cubicBezTo>
                  <a:lnTo>
                    <a:pt x="8640" y="12654"/>
                  </a:lnTo>
                  <a:cubicBezTo>
                    <a:pt x="8639" y="12504"/>
                    <a:pt x="8630" y="12393"/>
                    <a:pt x="8614" y="12318"/>
                  </a:cubicBezTo>
                  <a:cubicBezTo>
                    <a:pt x="8597" y="12242"/>
                    <a:pt x="8577" y="12204"/>
                    <a:pt x="8554" y="12204"/>
                  </a:cubicBezTo>
                  <a:close/>
                  <a:moveTo>
                    <a:pt x="9882" y="12216"/>
                  </a:moveTo>
                  <a:cubicBezTo>
                    <a:pt x="9854" y="12216"/>
                    <a:pt x="9831" y="12265"/>
                    <a:pt x="9812" y="12359"/>
                  </a:cubicBezTo>
                  <a:cubicBezTo>
                    <a:pt x="9794" y="12454"/>
                    <a:pt x="9785" y="12597"/>
                    <a:pt x="9785" y="12788"/>
                  </a:cubicBezTo>
                  <a:cubicBezTo>
                    <a:pt x="9785" y="13005"/>
                    <a:pt x="9794" y="13165"/>
                    <a:pt x="9814" y="13268"/>
                  </a:cubicBezTo>
                  <a:cubicBezTo>
                    <a:pt x="9833" y="13370"/>
                    <a:pt x="9857" y="13421"/>
                    <a:pt x="9884" y="13421"/>
                  </a:cubicBezTo>
                  <a:cubicBezTo>
                    <a:pt x="9910" y="13421"/>
                    <a:pt x="9932" y="13373"/>
                    <a:pt x="9950" y="13279"/>
                  </a:cubicBezTo>
                  <a:cubicBezTo>
                    <a:pt x="9968" y="13184"/>
                    <a:pt x="9978" y="13030"/>
                    <a:pt x="9978" y="12815"/>
                  </a:cubicBezTo>
                  <a:cubicBezTo>
                    <a:pt x="9978" y="12611"/>
                    <a:pt x="9968" y="12460"/>
                    <a:pt x="9950" y="12363"/>
                  </a:cubicBezTo>
                  <a:cubicBezTo>
                    <a:pt x="9931" y="12265"/>
                    <a:pt x="9909" y="12216"/>
                    <a:pt x="9882" y="12216"/>
                  </a:cubicBezTo>
                  <a:close/>
                  <a:moveTo>
                    <a:pt x="14025" y="12216"/>
                  </a:moveTo>
                  <a:cubicBezTo>
                    <a:pt x="13997" y="12216"/>
                    <a:pt x="13973" y="12265"/>
                    <a:pt x="13955" y="12359"/>
                  </a:cubicBezTo>
                  <a:cubicBezTo>
                    <a:pt x="13936" y="12454"/>
                    <a:pt x="13927" y="12597"/>
                    <a:pt x="13927" y="12788"/>
                  </a:cubicBezTo>
                  <a:cubicBezTo>
                    <a:pt x="13927" y="13005"/>
                    <a:pt x="13937" y="13165"/>
                    <a:pt x="13956" y="13268"/>
                  </a:cubicBezTo>
                  <a:cubicBezTo>
                    <a:pt x="13976" y="13370"/>
                    <a:pt x="13999" y="13421"/>
                    <a:pt x="14027" y="13421"/>
                  </a:cubicBezTo>
                  <a:cubicBezTo>
                    <a:pt x="14053" y="13421"/>
                    <a:pt x="14075" y="13373"/>
                    <a:pt x="14093" y="13279"/>
                  </a:cubicBezTo>
                  <a:cubicBezTo>
                    <a:pt x="14111" y="13184"/>
                    <a:pt x="14120" y="13030"/>
                    <a:pt x="14120" y="12815"/>
                  </a:cubicBezTo>
                  <a:cubicBezTo>
                    <a:pt x="14120" y="12611"/>
                    <a:pt x="14111" y="12460"/>
                    <a:pt x="14092" y="12363"/>
                  </a:cubicBezTo>
                  <a:cubicBezTo>
                    <a:pt x="14074" y="12265"/>
                    <a:pt x="14051" y="12216"/>
                    <a:pt x="14025" y="12216"/>
                  </a:cubicBezTo>
                  <a:close/>
                  <a:moveTo>
                    <a:pt x="10388" y="12229"/>
                  </a:moveTo>
                  <a:cubicBezTo>
                    <a:pt x="10359" y="12229"/>
                    <a:pt x="10335" y="12279"/>
                    <a:pt x="10314" y="12379"/>
                  </a:cubicBezTo>
                  <a:cubicBezTo>
                    <a:pt x="10293" y="12479"/>
                    <a:pt x="10282" y="12627"/>
                    <a:pt x="10282" y="12821"/>
                  </a:cubicBezTo>
                  <a:cubicBezTo>
                    <a:pt x="10282" y="13015"/>
                    <a:pt x="10293" y="13161"/>
                    <a:pt x="10314" y="13260"/>
                  </a:cubicBezTo>
                  <a:cubicBezTo>
                    <a:pt x="10335" y="13360"/>
                    <a:pt x="10360" y="13411"/>
                    <a:pt x="10389" y="13411"/>
                  </a:cubicBezTo>
                  <a:cubicBezTo>
                    <a:pt x="10418" y="13411"/>
                    <a:pt x="10443" y="13361"/>
                    <a:pt x="10464" y="13260"/>
                  </a:cubicBezTo>
                  <a:cubicBezTo>
                    <a:pt x="10484" y="13160"/>
                    <a:pt x="10495" y="13013"/>
                    <a:pt x="10495" y="12817"/>
                  </a:cubicBezTo>
                  <a:cubicBezTo>
                    <a:pt x="10495" y="12626"/>
                    <a:pt x="10485" y="12479"/>
                    <a:pt x="10464" y="12379"/>
                  </a:cubicBezTo>
                  <a:cubicBezTo>
                    <a:pt x="10443" y="12279"/>
                    <a:pt x="10417" y="12229"/>
                    <a:pt x="10388" y="12229"/>
                  </a:cubicBezTo>
                  <a:close/>
                  <a:moveTo>
                    <a:pt x="13495" y="12229"/>
                  </a:moveTo>
                  <a:cubicBezTo>
                    <a:pt x="13466" y="12229"/>
                    <a:pt x="13441" y="12279"/>
                    <a:pt x="13421" y="12379"/>
                  </a:cubicBezTo>
                  <a:cubicBezTo>
                    <a:pt x="13400" y="12479"/>
                    <a:pt x="13389" y="12627"/>
                    <a:pt x="13389" y="12821"/>
                  </a:cubicBezTo>
                  <a:cubicBezTo>
                    <a:pt x="13389" y="13015"/>
                    <a:pt x="13400" y="13161"/>
                    <a:pt x="13421" y="13260"/>
                  </a:cubicBezTo>
                  <a:cubicBezTo>
                    <a:pt x="13442" y="13360"/>
                    <a:pt x="13467" y="13411"/>
                    <a:pt x="13496" y="13411"/>
                  </a:cubicBezTo>
                  <a:cubicBezTo>
                    <a:pt x="13525" y="13411"/>
                    <a:pt x="13550" y="13361"/>
                    <a:pt x="13571" y="13260"/>
                  </a:cubicBezTo>
                  <a:cubicBezTo>
                    <a:pt x="13591" y="13160"/>
                    <a:pt x="13602" y="13013"/>
                    <a:pt x="13602" y="12817"/>
                  </a:cubicBezTo>
                  <a:cubicBezTo>
                    <a:pt x="13602" y="12626"/>
                    <a:pt x="13591" y="12479"/>
                    <a:pt x="13571" y="12379"/>
                  </a:cubicBezTo>
                  <a:cubicBezTo>
                    <a:pt x="13550" y="12279"/>
                    <a:pt x="13524" y="12229"/>
                    <a:pt x="13495" y="12229"/>
                  </a:cubicBezTo>
                  <a:close/>
                  <a:moveTo>
                    <a:pt x="14881" y="12229"/>
                  </a:moveTo>
                  <a:cubicBezTo>
                    <a:pt x="14852" y="12229"/>
                    <a:pt x="14828" y="12279"/>
                    <a:pt x="14807" y="12379"/>
                  </a:cubicBezTo>
                  <a:cubicBezTo>
                    <a:pt x="14786" y="12479"/>
                    <a:pt x="14775" y="12627"/>
                    <a:pt x="14775" y="12821"/>
                  </a:cubicBezTo>
                  <a:cubicBezTo>
                    <a:pt x="14775" y="13015"/>
                    <a:pt x="14786" y="13161"/>
                    <a:pt x="14807" y="13260"/>
                  </a:cubicBezTo>
                  <a:cubicBezTo>
                    <a:pt x="14828" y="13360"/>
                    <a:pt x="14853" y="13411"/>
                    <a:pt x="14882" y="13411"/>
                  </a:cubicBezTo>
                  <a:cubicBezTo>
                    <a:pt x="14911" y="13411"/>
                    <a:pt x="14936" y="13361"/>
                    <a:pt x="14957" y="13260"/>
                  </a:cubicBezTo>
                  <a:cubicBezTo>
                    <a:pt x="14977" y="13160"/>
                    <a:pt x="14988" y="13013"/>
                    <a:pt x="14988" y="12817"/>
                  </a:cubicBezTo>
                  <a:cubicBezTo>
                    <a:pt x="14988" y="12626"/>
                    <a:pt x="14977" y="12479"/>
                    <a:pt x="14956" y="12379"/>
                  </a:cubicBezTo>
                  <a:cubicBezTo>
                    <a:pt x="14935" y="12279"/>
                    <a:pt x="14910" y="12229"/>
                    <a:pt x="14881" y="12229"/>
                  </a:cubicBezTo>
                  <a:close/>
                  <a:moveTo>
                    <a:pt x="18115" y="12229"/>
                  </a:moveTo>
                  <a:cubicBezTo>
                    <a:pt x="18086" y="12229"/>
                    <a:pt x="18062" y="12279"/>
                    <a:pt x="18041" y="12379"/>
                  </a:cubicBezTo>
                  <a:cubicBezTo>
                    <a:pt x="18020" y="12479"/>
                    <a:pt x="18010" y="12627"/>
                    <a:pt x="18010" y="12821"/>
                  </a:cubicBezTo>
                  <a:cubicBezTo>
                    <a:pt x="18010" y="13015"/>
                    <a:pt x="18020" y="13161"/>
                    <a:pt x="18041" y="13260"/>
                  </a:cubicBezTo>
                  <a:cubicBezTo>
                    <a:pt x="18062" y="13360"/>
                    <a:pt x="18087" y="13411"/>
                    <a:pt x="18117" y="13411"/>
                  </a:cubicBezTo>
                  <a:cubicBezTo>
                    <a:pt x="18146" y="13411"/>
                    <a:pt x="18170" y="13361"/>
                    <a:pt x="18191" y="13260"/>
                  </a:cubicBezTo>
                  <a:cubicBezTo>
                    <a:pt x="18212" y="13160"/>
                    <a:pt x="18222" y="13013"/>
                    <a:pt x="18222" y="12817"/>
                  </a:cubicBezTo>
                  <a:cubicBezTo>
                    <a:pt x="18222" y="12626"/>
                    <a:pt x="18212" y="12479"/>
                    <a:pt x="18191" y="12379"/>
                  </a:cubicBezTo>
                  <a:cubicBezTo>
                    <a:pt x="18170" y="12279"/>
                    <a:pt x="18145" y="12229"/>
                    <a:pt x="18115" y="12229"/>
                  </a:cubicBezTo>
                  <a:close/>
                  <a:moveTo>
                    <a:pt x="19764" y="12296"/>
                  </a:moveTo>
                  <a:cubicBezTo>
                    <a:pt x="19760" y="12802"/>
                    <a:pt x="19741" y="13161"/>
                    <a:pt x="19707" y="13373"/>
                  </a:cubicBezTo>
                  <a:lnTo>
                    <a:pt x="19903" y="13373"/>
                  </a:lnTo>
                  <a:cubicBezTo>
                    <a:pt x="19903" y="13373"/>
                    <a:pt x="19903" y="12296"/>
                    <a:pt x="19903" y="12296"/>
                  </a:cubicBezTo>
                  <a:lnTo>
                    <a:pt x="19764" y="12296"/>
                  </a:lnTo>
                  <a:close/>
                  <a:moveTo>
                    <a:pt x="1120" y="12576"/>
                  </a:moveTo>
                  <a:cubicBezTo>
                    <a:pt x="1129" y="12751"/>
                    <a:pt x="1279" y="12864"/>
                    <a:pt x="1279" y="12864"/>
                  </a:cubicBezTo>
                  <a:lnTo>
                    <a:pt x="1222" y="13235"/>
                  </a:lnTo>
                  <a:lnTo>
                    <a:pt x="1123" y="12741"/>
                  </a:lnTo>
                  <a:lnTo>
                    <a:pt x="1120" y="12576"/>
                  </a:lnTo>
                  <a:close/>
                  <a:moveTo>
                    <a:pt x="11948" y="12859"/>
                  </a:moveTo>
                  <a:cubicBezTo>
                    <a:pt x="11934" y="12880"/>
                    <a:pt x="11911" y="12906"/>
                    <a:pt x="11880" y="12935"/>
                  </a:cubicBezTo>
                  <a:cubicBezTo>
                    <a:pt x="11844" y="12969"/>
                    <a:pt x="11821" y="13006"/>
                    <a:pt x="11810" y="13047"/>
                  </a:cubicBezTo>
                  <a:cubicBezTo>
                    <a:pt x="11799" y="13088"/>
                    <a:pt x="11794" y="13141"/>
                    <a:pt x="11794" y="13206"/>
                  </a:cubicBezTo>
                  <a:cubicBezTo>
                    <a:pt x="11794" y="13280"/>
                    <a:pt x="11800" y="13341"/>
                    <a:pt x="11812" y="13391"/>
                  </a:cubicBezTo>
                  <a:cubicBezTo>
                    <a:pt x="11824" y="13441"/>
                    <a:pt x="11839" y="13467"/>
                    <a:pt x="11857" y="13467"/>
                  </a:cubicBezTo>
                  <a:cubicBezTo>
                    <a:pt x="11874" y="13467"/>
                    <a:pt x="11890" y="13446"/>
                    <a:pt x="11906" y="13405"/>
                  </a:cubicBezTo>
                  <a:cubicBezTo>
                    <a:pt x="11922" y="13365"/>
                    <a:pt x="11933" y="13318"/>
                    <a:pt x="11939" y="13262"/>
                  </a:cubicBezTo>
                  <a:cubicBezTo>
                    <a:pt x="11945" y="13207"/>
                    <a:pt x="11948" y="13106"/>
                    <a:pt x="11948" y="12960"/>
                  </a:cubicBezTo>
                  <a:lnTo>
                    <a:pt x="11948" y="12859"/>
                  </a:lnTo>
                  <a:close/>
                  <a:moveTo>
                    <a:pt x="15947" y="12859"/>
                  </a:moveTo>
                  <a:cubicBezTo>
                    <a:pt x="15933" y="12880"/>
                    <a:pt x="15910" y="12906"/>
                    <a:pt x="15879" y="12935"/>
                  </a:cubicBezTo>
                  <a:cubicBezTo>
                    <a:pt x="15843" y="12969"/>
                    <a:pt x="15820" y="13006"/>
                    <a:pt x="15809" y="13047"/>
                  </a:cubicBezTo>
                  <a:cubicBezTo>
                    <a:pt x="15798" y="13088"/>
                    <a:pt x="15793" y="13141"/>
                    <a:pt x="15793" y="13206"/>
                  </a:cubicBezTo>
                  <a:cubicBezTo>
                    <a:pt x="15793" y="13280"/>
                    <a:pt x="15799" y="13341"/>
                    <a:pt x="15811" y="13391"/>
                  </a:cubicBezTo>
                  <a:cubicBezTo>
                    <a:pt x="15823" y="13441"/>
                    <a:pt x="15838" y="13467"/>
                    <a:pt x="15856" y="13467"/>
                  </a:cubicBezTo>
                  <a:cubicBezTo>
                    <a:pt x="15873" y="13467"/>
                    <a:pt x="15889" y="13446"/>
                    <a:pt x="15905" y="13405"/>
                  </a:cubicBezTo>
                  <a:cubicBezTo>
                    <a:pt x="15921" y="13365"/>
                    <a:pt x="15932" y="13318"/>
                    <a:pt x="15938" y="13262"/>
                  </a:cubicBezTo>
                  <a:cubicBezTo>
                    <a:pt x="15944" y="13207"/>
                    <a:pt x="15947" y="13106"/>
                    <a:pt x="15947" y="12960"/>
                  </a:cubicBezTo>
                  <a:lnTo>
                    <a:pt x="15947" y="12859"/>
                  </a:lnTo>
                  <a:close/>
                  <a:moveTo>
                    <a:pt x="19389" y="12859"/>
                  </a:moveTo>
                  <a:cubicBezTo>
                    <a:pt x="19374" y="12880"/>
                    <a:pt x="19351" y="12906"/>
                    <a:pt x="19320" y="12935"/>
                  </a:cubicBezTo>
                  <a:cubicBezTo>
                    <a:pt x="19285" y="12969"/>
                    <a:pt x="19261" y="13006"/>
                    <a:pt x="19250" y="13047"/>
                  </a:cubicBezTo>
                  <a:cubicBezTo>
                    <a:pt x="19240" y="13088"/>
                    <a:pt x="19234" y="13141"/>
                    <a:pt x="19234" y="13206"/>
                  </a:cubicBezTo>
                  <a:cubicBezTo>
                    <a:pt x="19234" y="13280"/>
                    <a:pt x="19240" y="13341"/>
                    <a:pt x="19252" y="13391"/>
                  </a:cubicBezTo>
                  <a:cubicBezTo>
                    <a:pt x="19265" y="13441"/>
                    <a:pt x="19280" y="13467"/>
                    <a:pt x="19298" y="13467"/>
                  </a:cubicBezTo>
                  <a:cubicBezTo>
                    <a:pt x="19314" y="13467"/>
                    <a:pt x="19330" y="13446"/>
                    <a:pt x="19346" y="13405"/>
                  </a:cubicBezTo>
                  <a:cubicBezTo>
                    <a:pt x="19362" y="13365"/>
                    <a:pt x="19373" y="13318"/>
                    <a:pt x="19379" y="13262"/>
                  </a:cubicBezTo>
                  <a:cubicBezTo>
                    <a:pt x="19386" y="13207"/>
                    <a:pt x="19389" y="13106"/>
                    <a:pt x="19389" y="12960"/>
                  </a:cubicBezTo>
                  <a:cubicBezTo>
                    <a:pt x="19389" y="12960"/>
                    <a:pt x="19389" y="12859"/>
                    <a:pt x="19389" y="12859"/>
                  </a:cubicBezTo>
                  <a:close/>
                  <a:moveTo>
                    <a:pt x="20791" y="12859"/>
                  </a:moveTo>
                  <a:cubicBezTo>
                    <a:pt x="20776" y="12880"/>
                    <a:pt x="20753" y="12906"/>
                    <a:pt x="20722" y="12935"/>
                  </a:cubicBezTo>
                  <a:cubicBezTo>
                    <a:pt x="20687" y="12969"/>
                    <a:pt x="20664" y="13006"/>
                    <a:pt x="20653" y="13047"/>
                  </a:cubicBezTo>
                  <a:cubicBezTo>
                    <a:pt x="20642" y="13088"/>
                    <a:pt x="20636" y="13141"/>
                    <a:pt x="20636" y="13206"/>
                  </a:cubicBezTo>
                  <a:cubicBezTo>
                    <a:pt x="20636" y="13280"/>
                    <a:pt x="20642" y="13341"/>
                    <a:pt x="20655" y="13391"/>
                  </a:cubicBezTo>
                  <a:cubicBezTo>
                    <a:pt x="20667" y="13441"/>
                    <a:pt x="20682" y="13467"/>
                    <a:pt x="20700" y="13467"/>
                  </a:cubicBezTo>
                  <a:cubicBezTo>
                    <a:pt x="20716" y="13467"/>
                    <a:pt x="20732" y="13446"/>
                    <a:pt x="20748" y="13405"/>
                  </a:cubicBezTo>
                  <a:cubicBezTo>
                    <a:pt x="20764" y="13365"/>
                    <a:pt x="20775" y="13318"/>
                    <a:pt x="20781" y="13262"/>
                  </a:cubicBezTo>
                  <a:cubicBezTo>
                    <a:pt x="20788" y="13207"/>
                    <a:pt x="20791" y="13106"/>
                    <a:pt x="20791" y="12960"/>
                  </a:cubicBezTo>
                  <a:cubicBezTo>
                    <a:pt x="20791" y="12960"/>
                    <a:pt x="20791" y="12859"/>
                    <a:pt x="20791" y="12859"/>
                  </a:cubicBezTo>
                  <a:close/>
                  <a:moveTo>
                    <a:pt x="15299" y="12978"/>
                  </a:moveTo>
                  <a:lnTo>
                    <a:pt x="15299" y="13472"/>
                  </a:lnTo>
                  <a:lnTo>
                    <a:pt x="15399" y="13472"/>
                  </a:lnTo>
                  <a:cubicBezTo>
                    <a:pt x="15456" y="13472"/>
                    <a:pt x="15485" y="13391"/>
                    <a:pt x="15485" y="13228"/>
                  </a:cubicBezTo>
                  <a:cubicBezTo>
                    <a:pt x="15485" y="13147"/>
                    <a:pt x="15478" y="13084"/>
                    <a:pt x="15463" y="13041"/>
                  </a:cubicBezTo>
                  <a:cubicBezTo>
                    <a:pt x="15449" y="12999"/>
                    <a:pt x="15417" y="12978"/>
                    <a:pt x="15368" y="12978"/>
                  </a:cubicBezTo>
                  <a:lnTo>
                    <a:pt x="15299" y="12978"/>
                  </a:lnTo>
                  <a:close/>
                  <a:moveTo>
                    <a:pt x="6585" y="16270"/>
                  </a:moveTo>
                  <a:lnTo>
                    <a:pt x="6585" y="21600"/>
                  </a:lnTo>
                  <a:cubicBezTo>
                    <a:pt x="6585" y="21600"/>
                    <a:pt x="16988" y="21600"/>
                    <a:pt x="16988" y="21600"/>
                  </a:cubicBezTo>
                  <a:lnTo>
                    <a:pt x="16988" y="16270"/>
                  </a:lnTo>
                  <a:lnTo>
                    <a:pt x="6585" y="16270"/>
                  </a:lnTo>
                  <a:close/>
                  <a:moveTo>
                    <a:pt x="14305" y="17258"/>
                  </a:moveTo>
                  <a:lnTo>
                    <a:pt x="14384" y="17258"/>
                  </a:lnTo>
                  <a:cubicBezTo>
                    <a:pt x="14383" y="17399"/>
                    <a:pt x="14375" y="17504"/>
                    <a:pt x="14361" y="17573"/>
                  </a:cubicBezTo>
                  <a:cubicBezTo>
                    <a:pt x="14347" y="17642"/>
                    <a:pt x="14333" y="17684"/>
                    <a:pt x="14317" y="17696"/>
                  </a:cubicBezTo>
                  <a:cubicBezTo>
                    <a:pt x="14302" y="17709"/>
                    <a:pt x="14269" y="17717"/>
                    <a:pt x="14221" y="17722"/>
                  </a:cubicBezTo>
                  <a:cubicBezTo>
                    <a:pt x="14172" y="17727"/>
                    <a:pt x="14141" y="17737"/>
                    <a:pt x="14127" y="17754"/>
                  </a:cubicBezTo>
                  <a:cubicBezTo>
                    <a:pt x="14113" y="17771"/>
                    <a:pt x="14099" y="17807"/>
                    <a:pt x="14083" y="17861"/>
                  </a:cubicBezTo>
                  <a:cubicBezTo>
                    <a:pt x="14067" y="17915"/>
                    <a:pt x="14055" y="17990"/>
                    <a:pt x="14048" y="18085"/>
                  </a:cubicBezTo>
                  <a:cubicBezTo>
                    <a:pt x="14040" y="18181"/>
                    <a:pt x="14036" y="18313"/>
                    <a:pt x="14035" y="18480"/>
                  </a:cubicBezTo>
                  <a:cubicBezTo>
                    <a:pt x="14072" y="18197"/>
                    <a:pt x="14126" y="18055"/>
                    <a:pt x="14196" y="18055"/>
                  </a:cubicBezTo>
                  <a:cubicBezTo>
                    <a:pt x="14252" y="18055"/>
                    <a:pt x="14300" y="18153"/>
                    <a:pt x="14340" y="18346"/>
                  </a:cubicBezTo>
                  <a:cubicBezTo>
                    <a:pt x="14381" y="18539"/>
                    <a:pt x="14401" y="18768"/>
                    <a:pt x="14401" y="19036"/>
                  </a:cubicBezTo>
                  <a:cubicBezTo>
                    <a:pt x="14401" y="19313"/>
                    <a:pt x="14380" y="19546"/>
                    <a:pt x="14337" y="19734"/>
                  </a:cubicBezTo>
                  <a:cubicBezTo>
                    <a:pt x="14294" y="19922"/>
                    <a:pt x="14240" y="20015"/>
                    <a:pt x="14175" y="20015"/>
                  </a:cubicBezTo>
                  <a:cubicBezTo>
                    <a:pt x="14125" y="20015"/>
                    <a:pt x="14082" y="19957"/>
                    <a:pt x="14046" y="19841"/>
                  </a:cubicBezTo>
                  <a:cubicBezTo>
                    <a:pt x="14009" y="19725"/>
                    <a:pt x="13985" y="19576"/>
                    <a:pt x="13974" y="19394"/>
                  </a:cubicBezTo>
                  <a:cubicBezTo>
                    <a:pt x="13963" y="19211"/>
                    <a:pt x="13957" y="18957"/>
                    <a:pt x="13957" y="18628"/>
                  </a:cubicBezTo>
                  <a:cubicBezTo>
                    <a:pt x="13957" y="18164"/>
                    <a:pt x="13976" y="17832"/>
                    <a:pt x="14014" y="17631"/>
                  </a:cubicBezTo>
                  <a:cubicBezTo>
                    <a:pt x="14052" y="17430"/>
                    <a:pt x="14120" y="17329"/>
                    <a:pt x="14218" y="17329"/>
                  </a:cubicBezTo>
                  <a:lnTo>
                    <a:pt x="14273" y="17329"/>
                  </a:lnTo>
                  <a:cubicBezTo>
                    <a:pt x="14290" y="17329"/>
                    <a:pt x="14301" y="17305"/>
                    <a:pt x="14305" y="17258"/>
                  </a:cubicBezTo>
                  <a:close/>
                  <a:moveTo>
                    <a:pt x="7265" y="17316"/>
                  </a:moveTo>
                  <a:lnTo>
                    <a:pt x="7687" y="17316"/>
                  </a:lnTo>
                  <a:lnTo>
                    <a:pt x="7687" y="17765"/>
                  </a:lnTo>
                  <a:lnTo>
                    <a:pt x="7386" y="17765"/>
                  </a:lnTo>
                  <a:lnTo>
                    <a:pt x="7386" y="19949"/>
                  </a:lnTo>
                  <a:lnTo>
                    <a:pt x="7265" y="19949"/>
                  </a:lnTo>
                  <a:cubicBezTo>
                    <a:pt x="7265" y="19949"/>
                    <a:pt x="7265" y="17316"/>
                    <a:pt x="7265" y="17316"/>
                  </a:cubicBezTo>
                  <a:close/>
                  <a:moveTo>
                    <a:pt x="10452" y="17316"/>
                  </a:moveTo>
                  <a:lnTo>
                    <a:pt x="10873" y="17316"/>
                  </a:lnTo>
                  <a:lnTo>
                    <a:pt x="10873" y="17765"/>
                  </a:lnTo>
                  <a:lnTo>
                    <a:pt x="10572" y="17765"/>
                  </a:lnTo>
                  <a:lnTo>
                    <a:pt x="10572" y="19949"/>
                  </a:lnTo>
                  <a:lnTo>
                    <a:pt x="10452" y="19949"/>
                  </a:lnTo>
                  <a:cubicBezTo>
                    <a:pt x="10452" y="19949"/>
                    <a:pt x="10452" y="17316"/>
                    <a:pt x="10452" y="17316"/>
                  </a:cubicBezTo>
                  <a:close/>
                  <a:moveTo>
                    <a:pt x="8001" y="18011"/>
                  </a:moveTo>
                  <a:cubicBezTo>
                    <a:pt x="8051" y="18011"/>
                    <a:pt x="8093" y="18097"/>
                    <a:pt x="8129" y="18268"/>
                  </a:cubicBezTo>
                  <a:cubicBezTo>
                    <a:pt x="8165" y="18440"/>
                    <a:pt x="8183" y="18684"/>
                    <a:pt x="8183" y="18999"/>
                  </a:cubicBezTo>
                  <a:cubicBezTo>
                    <a:pt x="8183" y="19330"/>
                    <a:pt x="8165" y="19584"/>
                    <a:pt x="8129" y="19759"/>
                  </a:cubicBezTo>
                  <a:cubicBezTo>
                    <a:pt x="8093" y="19935"/>
                    <a:pt x="8050" y="20022"/>
                    <a:pt x="8001" y="20022"/>
                  </a:cubicBezTo>
                  <a:cubicBezTo>
                    <a:pt x="7978" y="20022"/>
                    <a:pt x="7957" y="20003"/>
                    <a:pt x="7937" y="19962"/>
                  </a:cubicBezTo>
                  <a:cubicBezTo>
                    <a:pt x="7917" y="19922"/>
                    <a:pt x="7896" y="19848"/>
                    <a:pt x="7874" y="19741"/>
                  </a:cubicBezTo>
                  <a:lnTo>
                    <a:pt x="7874" y="20710"/>
                  </a:lnTo>
                  <a:lnTo>
                    <a:pt x="7759" y="20710"/>
                  </a:lnTo>
                  <a:lnTo>
                    <a:pt x="7759" y="18055"/>
                  </a:lnTo>
                  <a:lnTo>
                    <a:pt x="7866" y="18055"/>
                  </a:lnTo>
                  <a:lnTo>
                    <a:pt x="7866" y="18337"/>
                  </a:lnTo>
                  <a:cubicBezTo>
                    <a:pt x="7881" y="18236"/>
                    <a:pt x="7900" y="18156"/>
                    <a:pt x="7924" y="18098"/>
                  </a:cubicBezTo>
                  <a:cubicBezTo>
                    <a:pt x="7948" y="18040"/>
                    <a:pt x="7974" y="18011"/>
                    <a:pt x="8001" y="18011"/>
                  </a:cubicBezTo>
                  <a:close/>
                  <a:moveTo>
                    <a:pt x="9918" y="18011"/>
                  </a:moveTo>
                  <a:cubicBezTo>
                    <a:pt x="9967" y="18011"/>
                    <a:pt x="10004" y="18036"/>
                    <a:pt x="10030" y="18085"/>
                  </a:cubicBezTo>
                  <a:cubicBezTo>
                    <a:pt x="10056" y="18135"/>
                    <a:pt x="10074" y="18203"/>
                    <a:pt x="10085" y="18288"/>
                  </a:cubicBezTo>
                  <a:cubicBezTo>
                    <a:pt x="10096" y="18373"/>
                    <a:pt x="10101" y="18527"/>
                    <a:pt x="10101" y="18751"/>
                  </a:cubicBezTo>
                  <a:lnTo>
                    <a:pt x="10100" y="19347"/>
                  </a:lnTo>
                  <a:cubicBezTo>
                    <a:pt x="10100" y="19513"/>
                    <a:pt x="10102" y="19638"/>
                    <a:pt x="10106" y="19720"/>
                  </a:cubicBezTo>
                  <a:cubicBezTo>
                    <a:pt x="10109" y="19801"/>
                    <a:pt x="10116" y="19887"/>
                    <a:pt x="10126" y="19978"/>
                  </a:cubicBezTo>
                  <a:lnTo>
                    <a:pt x="10012" y="19978"/>
                  </a:lnTo>
                  <a:lnTo>
                    <a:pt x="9998" y="19768"/>
                  </a:lnTo>
                  <a:cubicBezTo>
                    <a:pt x="9978" y="19853"/>
                    <a:pt x="9957" y="19916"/>
                    <a:pt x="9934" y="19959"/>
                  </a:cubicBezTo>
                  <a:cubicBezTo>
                    <a:pt x="9912" y="20001"/>
                    <a:pt x="9888" y="20022"/>
                    <a:pt x="9863" y="20022"/>
                  </a:cubicBezTo>
                  <a:cubicBezTo>
                    <a:pt x="9821" y="20022"/>
                    <a:pt x="9786" y="19971"/>
                    <a:pt x="9759" y="19868"/>
                  </a:cubicBezTo>
                  <a:cubicBezTo>
                    <a:pt x="9732" y="19765"/>
                    <a:pt x="9719" y="19627"/>
                    <a:pt x="9719" y="19455"/>
                  </a:cubicBezTo>
                  <a:cubicBezTo>
                    <a:pt x="9719" y="19347"/>
                    <a:pt x="9724" y="19252"/>
                    <a:pt x="9735" y="19171"/>
                  </a:cubicBezTo>
                  <a:cubicBezTo>
                    <a:pt x="9746" y="19090"/>
                    <a:pt x="9762" y="19026"/>
                    <a:pt x="9782" y="18978"/>
                  </a:cubicBezTo>
                  <a:cubicBezTo>
                    <a:pt x="9801" y="18929"/>
                    <a:pt x="9833" y="18885"/>
                    <a:pt x="9877" y="18847"/>
                  </a:cubicBezTo>
                  <a:cubicBezTo>
                    <a:pt x="9930" y="18803"/>
                    <a:pt x="9968" y="18761"/>
                    <a:pt x="9989" y="18722"/>
                  </a:cubicBezTo>
                  <a:cubicBezTo>
                    <a:pt x="9989" y="18616"/>
                    <a:pt x="9986" y="18547"/>
                    <a:pt x="9982" y="18514"/>
                  </a:cubicBezTo>
                  <a:cubicBezTo>
                    <a:pt x="9978" y="18481"/>
                    <a:pt x="9970" y="18454"/>
                    <a:pt x="9959" y="18433"/>
                  </a:cubicBezTo>
                  <a:cubicBezTo>
                    <a:pt x="9948" y="18411"/>
                    <a:pt x="9932" y="18400"/>
                    <a:pt x="9912" y="18400"/>
                  </a:cubicBezTo>
                  <a:cubicBezTo>
                    <a:pt x="9891" y="18400"/>
                    <a:pt x="9876" y="18417"/>
                    <a:pt x="9864" y="18451"/>
                  </a:cubicBezTo>
                  <a:cubicBezTo>
                    <a:pt x="9852" y="18485"/>
                    <a:pt x="9842" y="18548"/>
                    <a:pt x="9835" y="18641"/>
                  </a:cubicBezTo>
                  <a:lnTo>
                    <a:pt x="9731" y="18558"/>
                  </a:lnTo>
                  <a:cubicBezTo>
                    <a:pt x="9743" y="18363"/>
                    <a:pt x="9764" y="18225"/>
                    <a:pt x="9794" y="18140"/>
                  </a:cubicBezTo>
                  <a:cubicBezTo>
                    <a:pt x="9823" y="18055"/>
                    <a:pt x="9864" y="18011"/>
                    <a:pt x="9918" y="18011"/>
                  </a:cubicBezTo>
                  <a:close/>
                  <a:moveTo>
                    <a:pt x="11113" y="18011"/>
                  </a:moveTo>
                  <a:cubicBezTo>
                    <a:pt x="11162" y="18011"/>
                    <a:pt x="11199" y="18036"/>
                    <a:pt x="11225" y="18085"/>
                  </a:cubicBezTo>
                  <a:cubicBezTo>
                    <a:pt x="11251" y="18135"/>
                    <a:pt x="11269" y="18203"/>
                    <a:pt x="11280" y="18288"/>
                  </a:cubicBezTo>
                  <a:cubicBezTo>
                    <a:pt x="11291" y="18373"/>
                    <a:pt x="11296" y="18527"/>
                    <a:pt x="11296" y="18751"/>
                  </a:cubicBezTo>
                  <a:lnTo>
                    <a:pt x="11295" y="19347"/>
                  </a:lnTo>
                  <a:cubicBezTo>
                    <a:pt x="11295" y="19513"/>
                    <a:pt x="11297" y="19638"/>
                    <a:pt x="11301" y="19720"/>
                  </a:cubicBezTo>
                  <a:cubicBezTo>
                    <a:pt x="11304" y="19801"/>
                    <a:pt x="11311" y="19887"/>
                    <a:pt x="11321" y="19978"/>
                  </a:cubicBezTo>
                  <a:lnTo>
                    <a:pt x="11207" y="19978"/>
                  </a:lnTo>
                  <a:lnTo>
                    <a:pt x="11193" y="19768"/>
                  </a:lnTo>
                  <a:cubicBezTo>
                    <a:pt x="11173" y="19853"/>
                    <a:pt x="11152" y="19916"/>
                    <a:pt x="11129" y="19959"/>
                  </a:cubicBezTo>
                  <a:cubicBezTo>
                    <a:pt x="11107" y="20001"/>
                    <a:pt x="11083" y="20022"/>
                    <a:pt x="11058" y="20022"/>
                  </a:cubicBezTo>
                  <a:cubicBezTo>
                    <a:pt x="11015" y="20022"/>
                    <a:pt x="10981" y="19971"/>
                    <a:pt x="10954" y="19868"/>
                  </a:cubicBezTo>
                  <a:cubicBezTo>
                    <a:pt x="10927" y="19765"/>
                    <a:pt x="10914" y="19627"/>
                    <a:pt x="10914" y="19455"/>
                  </a:cubicBezTo>
                  <a:cubicBezTo>
                    <a:pt x="10914" y="19347"/>
                    <a:pt x="10919" y="19252"/>
                    <a:pt x="10930" y="19171"/>
                  </a:cubicBezTo>
                  <a:cubicBezTo>
                    <a:pt x="10941" y="19090"/>
                    <a:pt x="10957" y="19026"/>
                    <a:pt x="10977" y="18978"/>
                  </a:cubicBezTo>
                  <a:cubicBezTo>
                    <a:pt x="10996" y="18929"/>
                    <a:pt x="11028" y="18885"/>
                    <a:pt x="11072" y="18847"/>
                  </a:cubicBezTo>
                  <a:cubicBezTo>
                    <a:pt x="11125" y="18803"/>
                    <a:pt x="11163" y="18761"/>
                    <a:pt x="11184" y="18722"/>
                  </a:cubicBezTo>
                  <a:cubicBezTo>
                    <a:pt x="11184" y="18616"/>
                    <a:pt x="11181" y="18547"/>
                    <a:pt x="11177" y="18514"/>
                  </a:cubicBezTo>
                  <a:cubicBezTo>
                    <a:pt x="11173" y="18481"/>
                    <a:pt x="11165" y="18454"/>
                    <a:pt x="11154" y="18433"/>
                  </a:cubicBezTo>
                  <a:cubicBezTo>
                    <a:pt x="11143" y="18411"/>
                    <a:pt x="11127" y="18400"/>
                    <a:pt x="11107" y="18400"/>
                  </a:cubicBezTo>
                  <a:cubicBezTo>
                    <a:pt x="11086" y="18400"/>
                    <a:pt x="11070" y="18417"/>
                    <a:pt x="11059" y="18451"/>
                  </a:cubicBezTo>
                  <a:cubicBezTo>
                    <a:pt x="11047" y="18485"/>
                    <a:pt x="11037" y="18548"/>
                    <a:pt x="11030" y="18641"/>
                  </a:cubicBezTo>
                  <a:lnTo>
                    <a:pt x="10926" y="18558"/>
                  </a:lnTo>
                  <a:cubicBezTo>
                    <a:pt x="10938" y="18363"/>
                    <a:pt x="10959" y="18225"/>
                    <a:pt x="10988" y="18140"/>
                  </a:cubicBezTo>
                  <a:cubicBezTo>
                    <a:pt x="11017" y="18055"/>
                    <a:pt x="11059" y="18011"/>
                    <a:pt x="11113" y="18011"/>
                  </a:cubicBezTo>
                  <a:close/>
                  <a:moveTo>
                    <a:pt x="11550" y="18011"/>
                  </a:moveTo>
                  <a:cubicBezTo>
                    <a:pt x="11600" y="18011"/>
                    <a:pt x="11640" y="18062"/>
                    <a:pt x="11670" y="18165"/>
                  </a:cubicBezTo>
                  <a:cubicBezTo>
                    <a:pt x="11700" y="18268"/>
                    <a:pt x="11715" y="18402"/>
                    <a:pt x="11715" y="18567"/>
                  </a:cubicBezTo>
                  <a:cubicBezTo>
                    <a:pt x="11715" y="18748"/>
                    <a:pt x="11689" y="18892"/>
                    <a:pt x="11638" y="18999"/>
                  </a:cubicBezTo>
                  <a:cubicBezTo>
                    <a:pt x="11701" y="19084"/>
                    <a:pt x="11734" y="19242"/>
                    <a:pt x="11734" y="19472"/>
                  </a:cubicBezTo>
                  <a:cubicBezTo>
                    <a:pt x="11734" y="19631"/>
                    <a:pt x="11717" y="19762"/>
                    <a:pt x="11684" y="19866"/>
                  </a:cubicBezTo>
                  <a:cubicBezTo>
                    <a:pt x="11651" y="19970"/>
                    <a:pt x="11606" y="20022"/>
                    <a:pt x="11550" y="20022"/>
                  </a:cubicBezTo>
                  <a:cubicBezTo>
                    <a:pt x="11448" y="20022"/>
                    <a:pt x="11385" y="19842"/>
                    <a:pt x="11360" y="19481"/>
                  </a:cubicBezTo>
                  <a:lnTo>
                    <a:pt x="11465" y="19399"/>
                  </a:lnTo>
                  <a:cubicBezTo>
                    <a:pt x="11482" y="19586"/>
                    <a:pt x="11510" y="19680"/>
                    <a:pt x="11549" y="19680"/>
                  </a:cubicBezTo>
                  <a:cubicBezTo>
                    <a:pt x="11569" y="19680"/>
                    <a:pt x="11586" y="19655"/>
                    <a:pt x="11600" y="19607"/>
                  </a:cubicBezTo>
                  <a:cubicBezTo>
                    <a:pt x="11614" y="19560"/>
                    <a:pt x="11621" y="19500"/>
                    <a:pt x="11621" y="19428"/>
                  </a:cubicBezTo>
                  <a:cubicBezTo>
                    <a:pt x="11621" y="19356"/>
                    <a:pt x="11614" y="19297"/>
                    <a:pt x="11601" y="19253"/>
                  </a:cubicBezTo>
                  <a:cubicBezTo>
                    <a:pt x="11587" y="19209"/>
                    <a:pt x="11570" y="19188"/>
                    <a:pt x="11549" y="19188"/>
                  </a:cubicBezTo>
                  <a:lnTo>
                    <a:pt x="11527" y="19188"/>
                  </a:lnTo>
                  <a:lnTo>
                    <a:pt x="11527" y="18856"/>
                  </a:lnTo>
                  <a:cubicBezTo>
                    <a:pt x="11581" y="18856"/>
                    <a:pt x="11608" y="18772"/>
                    <a:pt x="11608" y="18603"/>
                  </a:cubicBezTo>
                  <a:cubicBezTo>
                    <a:pt x="11608" y="18534"/>
                    <a:pt x="11603" y="18476"/>
                    <a:pt x="11592" y="18429"/>
                  </a:cubicBezTo>
                  <a:cubicBezTo>
                    <a:pt x="11581" y="18382"/>
                    <a:pt x="11567" y="18359"/>
                    <a:pt x="11549" y="18359"/>
                  </a:cubicBezTo>
                  <a:cubicBezTo>
                    <a:pt x="11513" y="18359"/>
                    <a:pt x="11489" y="18441"/>
                    <a:pt x="11475" y="18607"/>
                  </a:cubicBezTo>
                  <a:lnTo>
                    <a:pt x="11377" y="18514"/>
                  </a:lnTo>
                  <a:cubicBezTo>
                    <a:pt x="11400" y="18179"/>
                    <a:pt x="11458" y="18011"/>
                    <a:pt x="11550" y="18011"/>
                  </a:cubicBezTo>
                  <a:close/>
                  <a:moveTo>
                    <a:pt x="12574" y="18011"/>
                  </a:moveTo>
                  <a:cubicBezTo>
                    <a:pt x="12623" y="18011"/>
                    <a:pt x="12666" y="18097"/>
                    <a:pt x="12702" y="18268"/>
                  </a:cubicBezTo>
                  <a:cubicBezTo>
                    <a:pt x="12737" y="18440"/>
                    <a:pt x="12755" y="18684"/>
                    <a:pt x="12755" y="18999"/>
                  </a:cubicBezTo>
                  <a:cubicBezTo>
                    <a:pt x="12755" y="19330"/>
                    <a:pt x="12738" y="19584"/>
                    <a:pt x="12702" y="19759"/>
                  </a:cubicBezTo>
                  <a:cubicBezTo>
                    <a:pt x="12666" y="19935"/>
                    <a:pt x="12623" y="20022"/>
                    <a:pt x="12573" y="20022"/>
                  </a:cubicBezTo>
                  <a:cubicBezTo>
                    <a:pt x="12550" y="20022"/>
                    <a:pt x="12529" y="20003"/>
                    <a:pt x="12510" y="19962"/>
                  </a:cubicBezTo>
                  <a:cubicBezTo>
                    <a:pt x="12490" y="19922"/>
                    <a:pt x="12469" y="19848"/>
                    <a:pt x="12447" y="19741"/>
                  </a:cubicBezTo>
                  <a:lnTo>
                    <a:pt x="12447" y="20710"/>
                  </a:lnTo>
                  <a:lnTo>
                    <a:pt x="12332" y="20710"/>
                  </a:lnTo>
                  <a:lnTo>
                    <a:pt x="12332" y="18055"/>
                  </a:lnTo>
                  <a:lnTo>
                    <a:pt x="12439" y="18055"/>
                  </a:lnTo>
                  <a:lnTo>
                    <a:pt x="12439" y="18337"/>
                  </a:lnTo>
                  <a:cubicBezTo>
                    <a:pt x="12453" y="18236"/>
                    <a:pt x="12473" y="18156"/>
                    <a:pt x="12497" y="18098"/>
                  </a:cubicBezTo>
                  <a:cubicBezTo>
                    <a:pt x="12521" y="18040"/>
                    <a:pt x="12546" y="18011"/>
                    <a:pt x="12574" y="18011"/>
                  </a:cubicBezTo>
                  <a:close/>
                  <a:moveTo>
                    <a:pt x="13049" y="18011"/>
                  </a:moveTo>
                  <a:cubicBezTo>
                    <a:pt x="13119" y="18011"/>
                    <a:pt x="13174" y="18111"/>
                    <a:pt x="13214" y="18310"/>
                  </a:cubicBezTo>
                  <a:cubicBezTo>
                    <a:pt x="13254" y="18508"/>
                    <a:pt x="13274" y="18741"/>
                    <a:pt x="13274" y="19007"/>
                  </a:cubicBezTo>
                  <a:cubicBezTo>
                    <a:pt x="13274" y="19205"/>
                    <a:pt x="13263" y="19383"/>
                    <a:pt x="13242" y="19542"/>
                  </a:cubicBezTo>
                  <a:cubicBezTo>
                    <a:pt x="13222" y="19702"/>
                    <a:pt x="13195" y="19822"/>
                    <a:pt x="13161" y="19902"/>
                  </a:cubicBezTo>
                  <a:cubicBezTo>
                    <a:pt x="13127" y="19983"/>
                    <a:pt x="13090" y="20022"/>
                    <a:pt x="13050" y="20022"/>
                  </a:cubicBezTo>
                  <a:cubicBezTo>
                    <a:pt x="12985" y="20022"/>
                    <a:pt x="12932" y="19933"/>
                    <a:pt x="12889" y="19754"/>
                  </a:cubicBezTo>
                  <a:cubicBezTo>
                    <a:pt x="12847" y="19575"/>
                    <a:pt x="12826" y="19321"/>
                    <a:pt x="12826" y="18990"/>
                  </a:cubicBezTo>
                  <a:cubicBezTo>
                    <a:pt x="12826" y="18802"/>
                    <a:pt x="12836" y="18629"/>
                    <a:pt x="12857" y="18474"/>
                  </a:cubicBezTo>
                  <a:cubicBezTo>
                    <a:pt x="12877" y="18320"/>
                    <a:pt x="12904" y="18204"/>
                    <a:pt x="12937" y="18127"/>
                  </a:cubicBezTo>
                  <a:cubicBezTo>
                    <a:pt x="12970" y="18050"/>
                    <a:pt x="13008" y="18011"/>
                    <a:pt x="13049" y="18011"/>
                  </a:cubicBezTo>
                  <a:close/>
                  <a:moveTo>
                    <a:pt x="14666" y="18011"/>
                  </a:moveTo>
                  <a:cubicBezTo>
                    <a:pt x="14715" y="18011"/>
                    <a:pt x="14752" y="18036"/>
                    <a:pt x="14778" y="18085"/>
                  </a:cubicBezTo>
                  <a:cubicBezTo>
                    <a:pt x="14803" y="18135"/>
                    <a:pt x="14822" y="18203"/>
                    <a:pt x="14833" y="18288"/>
                  </a:cubicBezTo>
                  <a:cubicBezTo>
                    <a:pt x="14844" y="18373"/>
                    <a:pt x="14849" y="18527"/>
                    <a:pt x="14849" y="18751"/>
                  </a:cubicBezTo>
                  <a:lnTo>
                    <a:pt x="14848" y="19347"/>
                  </a:lnTo>
                  <a:cubicBezTo>
                    <a:pt x="14848" y="19513"/>
                    <a:pt x="14850" y="19638"/>
                    <a:pt x="14854" y="19720"/>
                  </a:cubicBezTo>
                  <a:cubicBezTo>
                    <a:pt x="14857" y="19801"/>
                    <a:pt x="14864" y="19887"/>
                    <a:pt x="14874" y="19978"/>
                  </a:cubicBezTo>
                  <a:lnTo>
                    <a:pt x="14760" y="19978"/>
                  </a:lnTo>
                  <a:lnTo>
                    <a:pt x="14746" y="19768"/>
                  </a:lnTo>
                  <a:cubicBezTo>
                    <a:pt x="14726" y="19853"/>
                    <a:pt x="14705" y="19916"/>
                    <a:pt x="14682" y="19959"/>
                  </a:cubicBezTo>
                  <a:cubicBezTo>
                    <a:pt x="14660" y="20001"/>
                    <a:pt x="14636" y="20022"/>
                    <a:pt x="14611" y="20022"/>
                  </a:cubicBezTo>
                  <a:cubicBezTo>
                    <a:pt x="14568" y="20022"/>
                    <a:pt x="14534" y="19971"/>
                    <a:pt x="14507" y="19868"/>
                  </a:cubicBezTo>
                  <a:cubicBezTo>
                    <a:pt x="14480" y="19765"/>
                    <a:pt x="14467" y="19627"/>
                    <a:pt x="14467" y="19455"/>
                  </a:cubicBezTo>
                  <a:cubicBezTo>
                    <a:pt x="14467" y="19347"/>
                    <a:pt x="14472" y="19252"/>
                    <a:pt x="14483" y="19171"/>
                  </a:cubicBezTo>
                  <a:cubicBezTo>
                    <a:pt x="14494" y="19090"/>
                    <a:pt x="14509" y="19026"/>
                    <a:pt x="14529" y="18978"/>
                  </a:cubicBezTo>
                  <a:cubicBezTo>
                    <a:pt x="14549" y="18929"/>
                    <a:pt x="14581" y="18885"/>
                    <a:pt x="14625" y="18847"/>
                  </a:cubicBezTo>
                  <a:cubicBezTo>
                    <a:pt x="14678" y="18803"/>
                    <a:pt x="14716" y="18761"/>
                    <a:pt x="14737" y="18722"/>
                  </a:cubicBezTo>
                  <a:cubicBezTo>
                    <a:pt x="14737" y="18616"/>
                    <a:pt x="14734" y="18547"/>
                    <a:pt x="14730" y="18514"/>
                  </a:cubicBezTo>
                  <a:cubicBezTo>
                    <a:pt x="14726" y="18481"/>
                    <a:pt x="14718" y="18454"/>
                    <a:pt x="14707" y="18433"/>
                  </a:cubicBezTo>
                  <a:cubicBezTo>
                    <a:pt x="14696" y="18411"/>
                    <a:pt x="14680" y="18400"/>
                    <a:pt x="14660" y="18400"/>
                  </a:cubicBezTo>
                  <a:cubicBezTo>
                    <a:pt x="14639" y="18400"/>
                    <a:pt x="14623" y="18417"/>
                    <a:pt x="14612" y="18451"/>
                  </a:cubicBezTo>
                  <a:cubicBezTo>
                    <a:pt x="14600" y="18485"/>
                    <a:pt x="14590" y="18548"/>
                    <a:pt x="14583" y="18641"/>
                  </a:cubicBezTo>
                  <a:lnTo>
                    <a:pt x="14479" y="18558"/>
                  </a:lnTo>
                  <a:cubicBezTo>
                    <a:pt x="14491" y="18363"/>
                    <a:pt x="14512" y="18225"/>
                    <a:pt x="14541" y="18140"/>
                  </a:cubicBezTo>
                  <a:cubicBezTo>
                    <a:pt x="14570" y="18055"/>
                    <a:pt x="14612" y="18011"/>
                    <a:pt x="14666" y="18011"/>
                  </a:cubicBezTo>
                  <a:close/>
                  <a:moveTo>
                    <a:pt x="15755" y="18011"/>
                  </a:moveTo>
                  <a:cubicBezTo>
                    <a:pt x="15766" y="18011"/>
                    <a:pt x="15781" y="18016"/>
                    <a:pt x="15800" y="18026"/>
                  </a:cubicBezTo>
                  <a:lnTo>
                    <a:pt x="15800" y="18355"/>
                  </a:lnTo>
                  <a:lnTo>
                    <a:pt x="15788" y="18355"/>
                  </a:lnTo>
                  <a:cubicBezTo>
                    <a:pt x="15769" y="18355"/>
                    <a:pt x="15755" y="18365"/>
                    <a:pt x="15746" y="18384"/>
                  </a:cubicBezTo>
                  <a:cubicBezTo>
                    <a:pt x="15736" y="18403"/>
                    <a:pt x="15727" y="18467"/>
                    <a:pt x="15719" y="18576"/>
                  </a:cubicBezTo>
                  <a:cubicBezTo>
                    <a:pt x="15711" y="18684"/>
                    <a:pt x="15703" y="18767"/>
                    <a:pt x="15695" y="18824"/>
                  </a:cubicBezTo>
                  <a:cubicBezTo>
                    <a:pt x="15687" y="18880"/>
                    <a:pt x="15675" y="18926"/>
                    <a:pt x="15657" y="18959"/>
                  </a:cubicBezTo>
                  <a:cubicBezTo>
                    <a:pt x="15672" y="18979"/>
                    <a:pt x="15687" y="19017"/>
                    <a:pt x="15701" y="19074"/>
                  </a:cubicBezTo>
                  <a:cubicBezTo>
                    <a:pt x="15716" y="19131"/>
                    <a:pt x="15734" y="19246"/>
                    <a:pt x="15754" y="19417"/>
                  </a:cubicBezTo>
                  <a:lnTo>
                    <a:pt x="15817" y="19948"/>
                  </a:lnTo>
                  <a:lnTo>
                    <a:pt x="15695" y="19948"/>
                  </a:lnTo>
                  <a:lnTo>
                    <a:pt x="15637" y="19392"/>
                  </a:lnTo>
                  <a:cubicBezTo>
                    <a:pt x="15625" y="19280"/>
                    <a:pt x="15615" y="19207"/>
                    <a:pt x="15607" y="19175"/>
                  </a:cubicBezTo>
                  <a:cubicBezTo>
                    <a:pt x="15599" y="19143"/>
                    <a:pt x="15586" y="19128"/>
                    <a:pt x="15570" y="19128"/>
                  </a:cubicBezTo>
                  <a:lnTo>
                    <a:pt x="15570" y="19948"/>
                  </a:lnTo>
                  <a:lnTo>
                    <a:pt x="15455" y="19948"/>
                  </a:lnTo>
                  <a:lnTo>
                    <a:pt x="15455" y="18026"/>
                  </a:lnTo>
                  <a:lnTo>
                    <a:pt x="15570" y="18026"/>
                  </a:lnTo>
                  <a:lnTo>
                    <a:pt x="15570" y="18807"/>
                  </a:lnTo>
                  <a:cubicBezTo>
                    <a:pt x="15585" y="18802"/>
                    <a:pt x="15597" y="18783"/>
                    <a:pt x="15605" y="18751"/>
                  </a:cubicBezTo>
                  <a:cubicBezTo>
                    <a:pt x="15614" y="18720"/>
                    <a:pt x="15624" y="18628"/>
                    <a:pt x="15636" y="18474"/>
                  </a:cubicBezTo>
                  <a:cubicBezTo>
                    <a:pt x="15649" y="18320"/>
                    <a:pt x="15662" y="18204"/>
                    <a:pt x="15677" y="18127"/>
                  </a:cubicBezTo>
                  <a:cubicBezTo>
                    <a:pt x="15692" y="18050"/>
                    <a:pt x="15718" y="18011"/>
                    <a:pt x="15755" y="18011"/>
                  </a:cubicBezTo>
                  <a:close/>
                  <a:moveTo>
                    <a:pt x="16052" y="18011"/>
                  </a:moveTo>
                  <a:cubicBezTo>
                    <a:pt x="16101" y="18011"/>
                    <a:pt x="16138" y="18036"/>
                    <a:pt x="16164" y="18085"/>
                  </a:cubicBezTo>
                  <a:cubicBezTo>
                    <a:pt x="16190" y="18135"/>
                    <a:pt x="16208" y="18203"/>
                    <a:pt x="16219" y="18288"/>
                  </a:cubicBezTo>
                  <a:cubicBezTo>
                    <a:pt x="16230" y="18373"/>
                    <a:pt x="16235" y="18527"/>
                    <a:pt x="16235" y="18751"/>
                  </a:cubicBezTo>
                  <a:lnTo>
                    <a:pt x="16234" y="19347"/>
                  </a:lnTo>
                  <a:cubicBezTo>
                    <a:pt x="16234" y="19513"/>
                    <a:pt x="16236" y="19638"/>
                    <a:pt x="16240" y="19720"/>
                  </a:cubicBezTo>
                  <a:cubicBezTo>
                    <a:pt x="16243" y="19801"/>
                    <a:pt x="16250" y="19887"/>
                    <a:pt x="16260" y="19978"/>
                  </a:cubicBezTo>
                  <a:lnTo>
                    <a:pt x="16146" y="19978"/>
                  </a:lnTo>
                  <a:lnTo>
                    <a:pt x="16132" y="19768"/>
                  </a:lnTo>
                  <a:cubicBezTo>
                    <a:pt x="16112" y="19853"/>
                    <a:pt x="16091" y="19916"/>
                    <a:pt x="16068" y="19959"/>
                  </a:cubicBezTo>
                  <a:cubicBezTo>
                    <a:pt x="16046" y="20001"/>
                    <a:pt x="16022" y="20022"/>
                    <a:pt x="15997" y="20022"/>
                  </a:cubicBezTo>
                  <a:cubicBezTo>
                    <a:pt x="15955" y="20022"/>
                    <a:pt x="15920" y="19971"/>
                    <a:pt x="15893" y="19868"/>
                  </a:cubicBezTo>
                  <a:cubicBezTo>
                    <a:pt x="15866" y="19765"/>
                    <a:pt x="15853" y="19627"/>
                    <a:pt x="15853" y="19455"/>
                  </a:cubicBezTo>
                  <a:cubicBezTo>
                    <a:pt x="15853" y="19347"/>
                    <a:pt x="15858" y="19252"/>
                    <a:pt x="15869" y="19171"/>
                  </a:cubicBezTo>
                  <a:cubicBezTo>
                    <a:pt x="15880" y="19090"/>
                    <a:pt x="15896" y="19026"/>
                    <a:pt x="15916" y="18978"/>
                  </a:cubicBezTo>
                  <a:cubicBezTo>
                    <a:pt x="15935" y="18929"/>
                    <a:pt x="15967" y="18885"/>
                    <a:pt x="16011" y="18847"/>
                  </a:cubicBezTo>
                  <a:cubicBezTo>
                    <a:pt x="16064" y="18803"/>
                    <a:pt x="16102" y="18761"/>
                    <a:pt x="16123" y="18722"/>
                  </a:cubicBezTo>
                  <a:cubicBezTo>
                    <a:pt x="16123" y="18616"/>
                    <a:pt x="16120" y="18547"/>
                    <a:pt x="16116" y="18514"/>
                  </a:cubicBezTo>
                  <a:cubicBezTo>
                    <a:pt x="16112" y="18481"/>
                    <a:pt x="16104" y="18454"/>
                    <a:pt x="16093" y="18433"/>
                  </a:cubicBezTo>
                  <a:cubicBezTo>
                    <a:pt x="16082" y="18411"/>
                    <a:pt x="16066" y="18400"/>
                    <a:pt x="16046" y="18400"/>
                  </a:cubicBezTo>
                  <a:cubicBezTo>
                    <a:pt x="16025" y="18400"/>
                    <a:pt x="16010" y="18417"/>
                    <a:pt x="15998" y="18451"/>
                  </a:cubicBezTo>
                  <a:cubicBezTo>
                    <a:pt x="15986" y="18485"/>
                    <a:pt x="15976" y="18548"/>
                    <a:pt x="15969" y="18641"/>
                  </a:cubicBezTo>
                  <a:lnTo>
                    <a:pt x="15865" y="18558"/>
                  </a:lnTo>
                  <a:cubicBezTo>
                    <a:pt x="15877" y="18363"/>
                    <a:pt x="15898" y="18225"/>
                    <a:pt x="15928" y="18140"/>
                  </a:cubicBezTo>
                  <a:cubicBezTo>
                    <a:pt x="15957" y="18055"/>
                    <a:pt x="15998" y="18011"/>
                    <a:pt x="16052" y="18011"/>
                  </a:cubicBezTo>
                  <a:close/>
                  <a:moveTo>
                    <a:pt x="8221" y="18069"/>
                  </a:moveTo>
                  <a:lnTo>
                    <a:pt x="8344" y="18069"/>
                  </a:lnTo>
                  <a:lnTo>
                    <a:pt x="8447" y="19435"/>
                  </a:lnTo>
                  <a:cubicBezTo>
                    <a:pt x="8447" y="19435"/>
                    <a:pt x="8549" y="18069"/>
                    <a:pt x="8549" y="18069"/>
                  </a:cubicBezTo>
                  <a:lnTo>
                    <a:pt x="8667" y="18069"/>
                  </a:lnTo>
                  <a:lnTo>
                    <a:pt x="8514" y="19921"/>
                  </a:lnTo>
                  <a:lnTo>
                    <a:pt x="8485" y="20281"/>
                  </a:lnTo>
                  <a:cubicBezTo>
                    <a:pt x="8472" y="20416"/>
                    <a:pt x="8459" y="20515"/>
                    <a:pt x="8446" y="20577"/>
                  </a:cubicBezTo>
                  <a:cubicBezTo>
                    <a:pt x="8433" y="20640"/>
                    <a:pt x="8417" y="20690"/>
                    <a:pt x="8397" y="20724"/>
                  </a:cubicBezTo>
                  <a:cubicBezTo>
                    <a:pt x="8378" y="20758"/>
                    <a:pt x="8353" y="20773"/>
                    <a:pt x="8324" y="20773"/>
                  </a:cubicBezTo>
                  <a:cubicBezTo>
                    <a:pt x="8302" y="20773"/>
                    <a:pt x="8280" y="20763"/>
                    <a:pt x="8259" y="20742"/>
                  </a:cubicBezTo>
                  <a:lnTo>
                    <a:pt x="8249" y="20344"/>
                  </a:lnTo>
                  <a:cubicBezTo>
                    <a:pt x="8267" y="20359"/>
                    <a:pt x="8283" y="20368"/>
                    <a:pt x="8297" y="20368"/>
                  </a:cubicBezTo>
                  <a:cubicBezTo>
                    <a:pt x="8319" y="20368"/>
                    <a:pt x="8337" y="20341"/>
                    <a:pt x="8352" y="20288"/>
                  </a:cubicBezTo>
                  <a:cubicBezTo>
                    <a:pt x="8366" y="20235"/>
                    <a:pt x="8377" y="20138"/>
                    <a:pt x="8386" y="19998"/>
                  </a:cubicBezTo>
                  <a:lnTo>
                    <a:pt x="8221" y="18069"/>
                  </a:lnTo>
                  <a:close/>
                  <a:moveTo>
                    <a:pt x="8731" y="18069"/>
                  </a:moveTo>
                  <a:lnTo>
                    <a:pt x="9117" y="18069"/>
                  </a:lnTo>
                  <a:lnTo>
                    <a:pt x="9117" y="19991"/>
                  </a:lnTo>
                  <a:lnTo>
                    <a:pt x="9001" y="19991"/>
                  </a:lnTo>
                  <a:lnTo>
                    <a:pt x="9001" y="18469"/>
                  </a:lnTo>
                  <a:lnTo>
                    <a:pt x="8846" y="18469"/>
                  </a:lnTo>
                  <a:lnTo>
                    <a:pt x="8846" y="19991"/>
                  </a:lnTo>
                  <a:lnTo>
                    <a:pt x="8731" y="19991"/>
                  </a:lnTo>
                  <a:cubicBezTo>
                    <a:pt x="8731" y="19991"/>
                    <a:pt x="8731" y="18069"/>
                    <a:pt x="8731" y="18069"/>
                  </a:cubicBezTo>
                  <a:close/>
                  <a:moveTo>
                    <a:pt x="9241" y="18069"/>
                  </a:moveTo>
                  <a:lnTo>
                    <a:pt x="9627" y="18069"/>
                  </a:lnTo>
                  <a:lnTo>
                    <a:pt x="9627" y="19991"/>
                  </a:lnTo>
                  <a:lnTo>
                    <a:pt x="9511" y="19991"/>
                  </a:lnTo>
                  <a:lnTo>
                    <a:pt x="9511" y="18469"/>
                  </a:lnTo>
                  <a:lnTo>
                    <a:pt x="9356" y="18469"/>
                  </a:lnTo>
                  <a:lnTo>
                    <a:pt x="9356" y="19991"/>
                  </a:lnTo>
                  <a:lnTo>
                    <a:pt x="9241" y="19991"/>
                  </a:lnTo>
                  <a:cubicBezTo>
                    <a:pt x="9241" y="19991"/>
                    <a:pt x="9241" y="18069"/>
                    <a:pt x="9241" y="18069"/>
                  </a:cubicBezTo>
                  <a:close/>
                  <a:moveTo>
                    <a:pt x="11822" y="18069"/>
                  </a:moveTo>
                  <a:lnTo>
                    <a:pt x="12208" y="18069"/>
                  </a:lnTo>
                  <a:lnTo>
                    <a:pt x="12208" y="19991"/>
                  </a:lnTo>
                  <a:lnTo>
                    <a:pt x="12092" y="19991"/>
                  </a:lnTo>
                  <a:lnTo>
                    <a:pt x="12092" y="18469"/>
                  </a:lnTo>
                  <a:lnTo>
                    <a:pt x="11937" y="18469"/>
                  </a:lnTo>
                  <a:lnTo>
                    <a:pt x="11937" y="19991"/>
                  </a:lnTo>
                  <a:lnTo>
                    <a:pt x="11822" y="19991"/>
                  </a:lnTo>
                  <a:cubicBezTo>
                    <a:pt x="11822" y="19991"/>
                    <a:pt x="11822" y="18069"/>
                    <a:pt x="11822" y="18069"/>
                  </a:cubicBezTo>
                  <a:close/>
                  <a:moveTo>
                    <a:pt x="13367" y="18069"/>
                  </a:moveTo>
                  <a:lnTo>
                    <a:pt x="13510" y="18069"/>
                  </a:lnTo>
                  <a:lnTo>
                    <a:pt x="13617" y="19408"/>
                  </a:lnTo>
                  <a:cubicBezTo>
                    <a:pt x="13617" y="19408"/>
                    <a:pt x="13726" y="18069"/>
                    <a:pt x="13726" y="18069"/>
                  </a:cubicBezTo>
                  <a:lnTo>
                    <a:pt x="13869" y="18069"/>
                  </a:lnTo>
                  <a:lnTo>
                    <a:pt x="13869" y="19991"/>
                  </a:lnTo>
                  <a:lnTo>
                    <a:pt x="13770" y="19991"/>
                  </a:lnTo>
                  <a:lnTo>
                    <a:pt x="13770" y="18726"/>
                  </a:lnTo>
                  <a:lnTo>
                    <a:pt x="13664" y="19991"/>
                  </a:lnTo>
                  <a:lnTo>
                    <a:pt x="13566" y="19991"/>
                  </a:lnTo>
                  <a:lnTo>
                    <a:pt x="13466" y="18726"/>
                  </a:lnTo>
                  <a:lnTo>
                    <a:pt x="13466" y="19991"/>
                  </a:lnTo>
                  <a:lnTo>
                    <a:pt x="13367" y="19991"/>
                  </a:lnTo>
                  <a:lnTo>
                    <a:pt x="13367" y="18069"/>
                  </a:lnTo>
                  <a:close/>
                  <a:moveTo>
                    <a:pt x="14961" y="18069"/>
                  </a:moveTo>
                  <a:lnTo>
                    <a:pt x="15076" y="18069"/>
                  </a:lnTo>
                  <a:lnTo>
                    <a:pt x="15076" y="18769"/>
                  </a:lnTo>
                  <a:lnTo>
                    <a:pt x="15240" y="18769"/>
                  </a:lnTo>
                  <a:cubicBezTo>
                    <a:pt x="15240" y="18769"/>
                    <a:pt x="15240" y="18069"/>
                    <a:pt x="15240" y="18069"/>
                  </a:cubicBezTo>
                  <a:lnTo>
                    <a:pt x="15355" y="18069"/>
                  </a:lnTo>
                  <a:lnTo>
                    <a:pt x="15355" y="19991"/>
                  </a:lnTo>
                  <a:lnTo>
                    <a:pt x="15240" y="19991"/>
                  </a:lnTo>
                  <a:lnTo>
                    <a:pt x="15240" y="19184"/>
                  </a:lnTo>
                  <a:lnTo>
                    <a:pt x="15076" y="19184"/>
                  </a:lnTo>
                  <a:lnTo>
                    <a:pt x="15076" y="19991"/>
                  </a:lnTo>
                  <a:lnTo>
                    <a:pt x="14961" y="19991"/>
                  </a:lnTo>
                  <a:lnTo>
                    <a:pt x="14961" y="18069"/>
                  </a:lnTo>
                  <a:close/>
                  <a:moveTo>
                    <a:pt x="7970" y="18413"/>
                  </a:moveTo>
                  <a:cubicBezTo>
                    <a:pt x="7942" y="18413"/>
                    <a:pt x="7919" y="18461"/>
                    <a:pt x="7901" y="18556"/>
                  </a:cubicBezTo>
                  <a:cubicBezTo>
                    <a:pt x="7882" y="18651"/>
                    <a:pt x="7873" y="18794"/>
                    <a:pt x="7873" y="18985"/>
                  </a:cubicBezTo>
                  <a:cubicBezTo>
                    <a:pt x="7873" y="19202"/>
                    <a:pt x="7883" y="19362"/>
                    <a:pt x="7902" y="19464"/>
                  </a:cubicBezTo>
                  <a:cubicBezTo>
                    <a:pt x="7921" y="19567"/>
                    <a:pt x="7945" y="19618"/>
                    <a:pt x="7972" y="19618"/>
                  </a:cubicBezTo>
                  <a:cubicBezTo>
                    <a:pt x="7998" y="19618"/>
                    <a:pt x="8020" y="19570"/>
                    <a:pt x="8038" y="19475"/>
                  </a:cubicBezTo>
                  <a:cubicBezTo>
                    <a:pt x="8056" y="19380"/>
                    <a:pt x="8066" y="19227"/>
                    <a:pt x="8066" y="19012"/>
                  </a:cubicBezTo>
                  <a:cubicBezTo>
                    <a:pt x="8066" y="18808"/>
                    <a:pt x="8056" y="18657"/>
                    <a:pt x="8038" y="18560"/>
                  </a:cubicBezTo>
                  <a:cubicBezTo>
                    <a:pt x="8020" y="18462"/>
                    <a:pt x="7997" y="18413"/>
                    <a:pt x="7970" y="18413"/>
                  </a:cubicBezTo>
                  <a:close/>
                  <a:moveTo>
                    <a:pt x="12543" y="18413"/>
                  </a:moveTo>
                  <a:cubicBezTo>
                    <a:pt x="12515" y="18413"/>
                    <a:pt x="12492" y="18461"/>
                    <a:pt x="12473" y="18556"/>
                  </a:cubicBezTo>
                  <a:cubicBezTo>
                    <a:pt x="12455" y="18651"/>
                    <a:pt x="12445" y="18794"/>
                    <a:pt x="12445" y="18985"/>
                  </a:cubicBezTo>
                  <a:cubicBezTo>
                    <a:pt x="12445" y="19202"/>
                    <a:pt x="12455" y="19362"/>
                    <a:pt x="12475" y="19464"/>
                  </a:cubicBezTo>
                  <a:cubicBezTo>
                    <a:pt x="12494" y="19567"/>
                    <a:pt x="12517" y="19618"/>
                    <a:pt x="12545" y="19618"/>
                  </a:cubicBezTo>
                  <a:cubicBezTo>
                    <a:pt x="12571" y="19618"/>
                    <a:pt x="12593" y="19570"/>
                    <a:pt x="12611" y="19475"/>
                  </a:cubicBezTo>
                  <a:cubicBezTo>
                    <a:pt x="12629" y="19380"/>
                    <a:pt x="12638" y="19227"/>
                    <a:pt x="12638" y="19012"/>
                  </a:cubicBezTo>
                  <a:cubicBezTo>
                    <a:pt x="12638" y="18808"/>
                    <a:pt x="12629" y="18657"/>
                    <a:pt x="12611" y="18560"/>
                  </a:cubicBezTo>
                  <a:cubicBezTo>
                    <a:pt x="12592" y="18462"/>
                    <a:pt x="12569" y="18413"/>
                    <a:pt x="12543" y="18413"/>
                  </a:cubicBezTo>
                  <a:close/>
                  <a:moveTo>
                    <a:pt x="13049" y="18426"/>
                  </a:moveTo>
                  <a:cubicBezTo>
                    <a:pt x="13020" y="18426"/>
                    <a:pt x="12995" y="18476"/>
                    <a:pt x="12975" y="18576"/>
                  </a:cubicBezTo>
                  <a:cubicBezTo>
                    <a:pt x="12954" y="18676"/>
                    <a:pt x="12943" y="18824"/>
                    <a:pt x="12943" y="19017"/>
                  </a:cubicBezTo>
                  <a:cubicBezTo>
                    <a:pt x="12943" y="19212"/>
                    <a:pt x="12954" y="19358"/>
                    <a:pt x="12975" y="19457"/>
                  </a:cubicBezTo>
                  <a:cubicBezTo>
                    <a:pt x="12995" y="19557"/>
                    <a:pt x="13021" y="19607"/>
                    <a:pt x="13050" y="19607"/>
                  </a:cubicBezTo>
                  <a:cubicBezTo>
                    <a:pt x="13079" y="19607"/>
                    <a:pt x="13104" y="19557"/>
                    <a:pt x="13124" y="19457"/>
                  </a:cubicBezTo>
                  <a:cubicBezTo>
                    <a:pt x="13145" y="19357"/>
                    <a:pt x="13156" y="19209"/>
                    <a:pt x="13156" y="19014"/>
                  </a:cubicBezTo>
                  <a:cubicBezTo>
                    <a:pt x="13156" y="18823"/>
                    <a:pt x="13145" y="18676"/>
                    <a:pt x="13124" y="18576"/>
                  </a:cubicBezTo>
                  <a:cubicBezTo>
                    <a:pt x="13103" y="18476"/>
                    <a:pt x="13078" y="18426"/>
                    <a:pt x="13049" y="18426"/>
                  </a:cubicBezTo>
                  <a:close/>
                  <a:moveTo>
                    <a:pt x="14177" y="18460"/>
                  </a:moveTo>
                  <a:cubicBezTo>
                    <a:pt x="14148" y="18460"/>
                    <a:pt x="14124" y="18512"/>
                    <a:pt x="14104" y="18616"/>
                  </a:cubicBezTo>
                  <a:cubicBezTo>
                    <a:pt x="14085" y="18720"/>
                    <a:pt x="14075" y="18857"/>
                    <a:pt x="14075" y="19028"/>
                  </a:cubicBezTo>
                  <a:cubicBezTo>
                    <a:pt x="14075" y="19201"/>
                    <a:pt x="14085" y="19339"/>
                    <a:pt x="14104" y="19443"/>
                  </a:cubicBezTo>
                  <a:cubicBezTo>
                    <a:pt x="14123" y="19547"/>
                    <a:pt x="14147" y="19598"/>
                    <a:pt x="14176" y="19598"/>
                  </a:cubicBezTo>
                  <a:cubicBezTo>
                    <a:pt x="14206" y="19598"/>
                    <a:pt x="14231" y="19546"/>
                    <a:pt x="14252" y="19439"/>
                  </a:cubicBezTo>
                  <a:cubicBezTo>
                    <a:pt x="14272" y="19332"/>
                    <a:pt x="14282" y="19195"/>
                    <a:pt x="14282" y="19028"/>
                  </a:cubicBezTo>
                  <a:cubicBezTo>
                    <a:pt x="14282" y="18862"/>
                    <a:pt x="14272" y="18725"/>
                    <a:pt x="14252" y="18619"/>
                  </a:cubicBezTo>
                  <a:cubicBezTo>
                    <a:pt x="14231" y="18513"/>
                    <a:pt x="14206" y="18460"/>
                    <a:pt x="14177" y="18460"/>
                  </a:cubicBezTo>
                  <a:close/>
                  <a:moveTo>
                    <a:pt x="9989" y="19055"/>
                  </a:moveTo>
                  <a:cubicBezTo>
                    <a:pt x="9974" y="19077"/>
                    <a:pt x="9951" y="19102"/>
                    <a:pt x="9920" y="19131"/>
                  </a:cubicBezTo>
                  <a:cubicBezTo>
                    <a:pt x="9885" y="19165"/>
                    <a:pt x="9861" y="19202"/>
                    <a:pt x="9850" y="19244"/>
                  </a:cubicBezTo>
                  <a:cubicBezTo>
                    <a:pt x="9839" y="19285"/>
                    <a:pt x="9834" y="19338"/>
                    <a:pt x="9834" y="19403"/>
                  </a:cubicBezTo>
                  <a:cubicBezTo>
                    <a:pt x="9834" y="19477"/>
                    <a:pt x="9840" y="19537"/>
                    <a:pt x="9852" y="19587"/>
                  </a:cubicBezTo>
                  <a:cubicBezTo>
                    <a:pt x="9864" y="19638"/>
                    <a:pt x="9879" y="19664"/>
                    <a:pt x="9898" y="19664"/>
                  </a:cubicBezTo>
                  <a:cubicBezTo>
                    <a:pt x="9914" y="19664"/>
                    <a:pt x="9930" y="19643"/>
                    <a:pt x="9946" y="19602"/>
                  </a:cubicBezTo>
                  <a:cubicBezTo>
                    <a:pt x="9962" y="19561"/>
                    <a:pt x="9973" y="19515"/>
                    <a:pt x="9979" y="19459"/>
                  </a:cubicBezTo>
                  <a:cubicBezTo>
                    <a:pt x="9985" y="19404"/>
                    <a:pt x="9989" y="19303"/>
                    <a:pt x="9989" y="19157"/>
                  </a:cubicBezTo>
                  <a:cubicBezTo>
                    <a:pt x="9989" y="19157"/>
                    <a:pt x="9989" y="19055"/>
                    <a:pt x="9989" y="19055"/>
                  </a:cubicBezTo>
                  <a:close/>
                  <a:moveTo>
                    <a:pt x="11184" y="19055"/>
                  </a:moveTo>
                  <a:cubicBezTo>
                    <a:pt x="11169" y="19077"/>
                    <a:pt x="11146" y="19102"/>
                    <a:pt x="11115" y="19131"/>
                  </a:cubicBezTo>
                  <a:cubicBezTo>
                    <a:pt x="11079" y="19165"/>
                    <a:pt x="11056" y="19202"/>
                    <a:pt x="11045" y="19244"/>
                  </a:cubicBezTo>
                  <a:cubicBezTo>
                    <a:pt x="11034" y="19285"/>
                    <a:pt x="11029" y="19338"/>
                    <a:pt x="11029" y="19403"/>
                  </a:cubicBezTo>
                  <a:cubicBezTo>
                    <a:pt x="11029" y="19477"/>
                    <a:pt x="11035" y="19537"/>
                    <a:pt x="11047" y="19587"/>
                  </a:cubicBezTo>
                  <a:cubicBezTo>
                    <a:pt x="11059" y="19638"/>
                    <a:pt x="11074" y="19664"/>
                    <a:pt x="11093" y="19664"/>
                  </a:cubicBezTo>
                  <a:cubicBezTo>
                    <a:pt x="11109" y="19664"/>
                    <a:pt x="11125" y="19643"/>
                    <a:pt x="11141" y="19602"/>
                  </a:cubicBezTo>
                  <a:cubicBezTo>
                    <a:pt x="11157" y="19561"/>
                    <a:pt x="11168" y="19515"/>
                    <a:pt x="11174" y="19459"/>
                  </a:cubicBezTo>
                  <a:cubicBezTo>
                    <a:pt x="11180" y="19404"/>
                    <a:pt x="11184" y="19303"/>
                    <a:pt x="11184" y="19157"/>
                  </a:cubicBezTo>
                  <a:cubicBezTo>
                    <a:pt x="11184" y="19157"/>
                    <a:pt x="11184" y="19055"/>
                    <a:pt x="11184" y="19055"/>
                  </a:cubicBezTo>
                  <a:close/>
                  <a:moveTo>
                    <a:pt x="14737" y="19055"/>
                  </a:moveTo>
                  <a:cubicBezTo>
                    <a:pt x="14722" y="19077"/>
                    <a:pt x="14699" y="19102"/>
                    <a:pt x="14668" y="19131"/>
                  </a:cubicBezTo>
                  <a:cubicBezTo>
                    <a:pt x="14632" y="19165"/>
                    <a:pt x="14609" y="19202"/>
                    <a:pt x="14598" y="19244"/>
                  </a:cubicBezTo>
                  <a:cubicBezTo>
                    <a:pt x="14587" y="19285"/>
                    <a:pt x="14582" y="19338"/>
                    <a:pt x="14582" y="19403"/>
                  </a:cubicBezTo>
                  <a:cubicBezTo>
                    <a:pt x="14582" y="19477"/>
                    <a:pt x="14588" y="19537"/>
                    <a:pt x="14600" y="19587"/>
                  </a:cubicBezTo>
                  <a:cubicBezTo>
                    <a:pt x="14612" y="19638"/>
                    <a:pt x="14627" y="19664"/>
                    <a:pt x="14645" y="19664"/>
                  </a:cubicBezTo>
                  <a:cubicBezTo>
                    <a:pt x="14662" y="19664"/>
                    <a:pt x="14678" y="19643"/>
                    <a:pt x="14694" y="19602"/>
                  </a:cubicBezTo>
                  <a:cubicBezTo>
                    <a:pt x="14710" y="19561"/>
                    <a:pt x="14721" y="19515"/>
                    <a:pt x="14727" y="19459"/>
                  </a:cubicBezTo>
                  <a:cubicBezTo>
                    <a:pt x="14733" y="19404"/>
                    <a:pt x="14737" y="19303"/>
                    <a:pt x="14737" y="19157"/>
                  </a:cubicBezTo>
                  <a:cubicBezTo>
                    <a:pt x="14737" y="19157"/>
                    <a:pt x="14737" y="19055"/>
                    <a:pt x="14737" y="19055"/>
                  </a:cubicBezTo>
                  <a:close/>
                  <a:moveTo>
                    <a:pt x="16123" y="19055"/>
                  </a:moveTo>
                  <a:cubicBezTo>
                    <a:pt x="16108" y="19077"/>
                    <a:pt x="16085" y="19102"/>
                    <a:pt x="16054" y="19131"/>
                  </a:cubicBezTo>
                  <a:cubicBezTo>
                    <a:pt x="16019" y="19165"/>
                    <a:pt x="15995" y="19202"/>
                    <a:pt x="15984" y="19244"/>
                  </a:cubicBezTo>
                  <a:cubicBezTo>
                    <a:pt x="15973" y="19285"/>
                    <a:pt x="15968" y="19338"/>
                    <a:pt x="15968" y="19403"/>
                  </a:cubicBezTo>
                  <a:cubicBezTo>
                    <a:pt x="15968" y="19477"/>
                    <a:pt x="15974" y="19537"/>
                    <a:pt x="15986" y="19587"/>
                  </a:cubicBezTo>
                  <a:cubicBezTo>
                    <a:pt x="15998" y="19638"/>
                    <a:pt x="16013" y="19664"/>
                    <a:pt x="16032" y="19664"/>
                  </a:cubicBezTo>
                  <a:cubicBezTo>
                    <a:pt x="16048" y="19664"/>
                    <a:pt x="16064" y="19643"/>
                    <a:pt x="16080" y="19602"/>
                  </a:cubicBezTo>
                  <a:cubicBezTo>
                    <a:pt x="16096" y="19561"/>
                    <a:pt x="16107" y="19515"/>
                    <a:pt x="16113" y="19459"/>
                  </a:cubicBezTo>
                  <a:cubicBezTo>
                    <a:pt x="16119" y="19404"/>
                    <a:pt x="16123" y="19303"/>
                    <a:pt x="16123" y="19157"/>
                  </a:cubicBezTo>
                  <a:cubicBezTo>
                    <a:pt x="16123" y="19157"/>
                    <a:pt x="16123" y="19055"/>
                    <a:pt x="16123" y="19055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</p:grpSp>
    </p:spTree>
    <p:extLst>
      <p:ext uri="{BB962C8B-B14F-4D97-AF65-F5344CB8AC3E}">
        <p14:creationId xmlns:p14="http://schemas.microsoft.com/office/powerpoint/2010/main" val="1497757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invGray">
          <a:xfrm>
            <a:off x="12113687" y="-1587"/>
            <a:ext cx="76201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2058656" y="-1587"/>
            <a:ext cx="3810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12033255" y="-1587"/>
            <a:ext cx="12700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11969753" y="-1587"/>
            <a:ext cx="33866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1887204" y="2"/>
            <a:ext cx="74084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1834288" y="2"/>
            <a:ext cx="846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21787" y="4"/>
            <a:ext cx="618068" cy="379413"/>
          </a:xfrm>
          <a:prstGeom prst="rect">
            <a:avLst/>
          </a:prstGeom>
        </p:spPr>
        <p:txBody>
          <a:bodyPr wrap="none" lIns="91440" tIns="45720" rIns="91440" bIns="45720">
            <a:normAutofit/>
          </a:bodyPr>
          <a:lstStyle/>
          <a:p>
            <a:pPr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>
              <a:solidFill>
                <a:srgbClr val="000000"/>
              </a:solidFill>
            </a:endParaRPr>
          </a:p>
        </p:txBody>
      </p:sp>
      <p:sp>
        <p:nvSpPr>
          <p:cNvPr id="1037" name="Заголовок 21"/>
          <p:cNvSpPr>
            <a:spLocks noGrp="1"/>
          </p:cNvSpPr>
          <p:nvPr>
            <p:ph type="title"/>
          </p:nvPr>
        </p:nvSpPr>
        <p:spPr bwMode="auto">
          <a:xfrm>
            <a:off x="147201" y="138563"/>
            <a:ext cx="11133376" cy="62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8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11088556" y="6597353"/>
            <a:ext cx="970317" cy="260648"/>
          </a:xfrm>
          <a:prstGeom prst="rect">
            <a:avLst/>
          </a:prstGeom>
        </p:spPr>
        <p:txBody>
          <a:bodyPr vert="horz" wrap="square" lIns="128016" tIns="64008" rIns="128016" bIns="64008" numCol="1" anchor="ctr" anchorCtr="0" compatLnSpc="1">
            <a:prstTxWarp prst="textNoShape">
              <a:avLst/>
            </a:prstTxWarp>
          </a:bodyPr>
          <a:lstStyle>
            <a:lvl1pPr algn="r">
              <a:defRPr sz="1214" b="0">
                <a:solidFill>
                  <a:schemeClr val="tx1"/>
                </a:solidFill>
                <a:latin typeface="+mn-lt"/>
              </a:defRPr>
            </a:lvl1pPr>
          </a:lstStyle>
          <a:p>
            <a:fld id="{9F6FBC26-61FB-4F17-9691-E74B80C23709}" type="slidenum">
              <a:rPr lang="ru-RU" smtClean="0"/>
              <a:t>‹#›</a:t>
            </a:fld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942" y="116633"/>
            <a:ext cx="678679" cy="720079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 flipV="1">
            <a:off x="143339" y="890771"/>
            <a:ext cx="11860280" cy="11849"/>
          </a:xfrm>
          <a:prstGeom prst="line">
            <a:avLst/>
          </a:prstGeom>
          <a:noFill/>
          <a:ln w="12700" cap="flat" cmpd="tri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r="18900000" sy="23000" kx="-1200000" algn="bl" rotWithShape="0">
              <a:schemeClr val="tx1">
                <a:alpha val="20000"/>
              </a:scheme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3465240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91" r:id="rId8"/>
    <p:sldLayoutId id="2147483692" r:id="rId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5pPr>
      <a:lvl6pPr marL="457198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6pPr>
      <a:lvl7pPr marL="914395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7pPr>
      <a:lvl8pPr marL="1371593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8pPr>
      <a:lvl9pPr marL="1828791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9pPr>
    </p:titleStyle>
    <p:bodyStyle>
      <a:lvl1pPr marL="365123" indent="-255587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7222" indent="-246062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571">
          <a:solidFill>
            <a:schemeClr val="accent2"/>
          </a:solidFill>
          <a:latin typeface="+mn-lt"/>
        </a:defRPr>
      </a:lvl2pPr>
      <a:lvl3pPr marL="922334" indent="-21907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29">
          <a:solidFill>
            <a:schemeClr val="accent1"/>
          </a:solidFill>
          <a:latin typeface="+mn-lt"/>
        </a:defRPr>
      </a:lvl3pPr>
      <a:lvl4pPr marL="1179508" indent="-20002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14">
          <a:solidFill>
            <a:schemeClr val="accent1"/>
          </a:solidFill>
          <a:latin typeface="+mn-lt"/>
        </a:defRPr>
      </a:lvl4pPr>
      <a:lvl5pPr marL="138905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54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51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49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4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ru-RU"/>
      </a:defPPr>
      <a:lvl1pPr marL="0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3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1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9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6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4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2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invGray">
          <a:xfrm>
            <a:off x="12113689" y="-1587"/>
            <a:ext cx="76201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9" tIns="45715" rIns="91429" bIns="45715" anchor="ctr"/>
          <a:lstStyle/>
          <a:p>
            <a:pPr algn="ctr" defTabSz="91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2058658" y="-1587"/>
            <a:ext cx="3810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9" tIns="45715" rIns="91429" bIns="45715" anchor="ctr"/>
          <a:lstStyle/>
          <a:p>
            <a:pPr algn="ctr" defTabSz="91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12033256" y="-1587"/>
            <a:ext cx="12700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9" tIns="45715" rIns="91429" bIns="45715" anchor="ctr"/>
          <a:lstStyle/>
          <a:p>
            <a:pPr algn="ctr" defTabSz="91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11969753" y="-1587"/>
            <a:ext cx="33866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9" tIns="45715" rIns="91429" bIns="45715" anchor="ctr"/>
          <a:lstStyle/>
          <a:p>
            <a:pPr algn="ctr" defTabSz="91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1887205" y="3"/>
            <a:ext cx="74084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9" tIns="45715" rIns="91429" bIns="45715" anchor="ctr"/>
          <a:lstStyle/>
          <a:p>
            <a:pPr algn="ctr" defTabSz="91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1834290" y="3"/>
            <a:ext cx="846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29" tIns="45715" rIns="91429" bIns="45715" anchor="ctr"/>
          <a:lstStyle/>
          <a:p>
            <a:pPr algn="ctr" defTabSz="91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21788" y="4"/>
            <a:ext cx="618068" cy="379413"/>
          </a:xfrm>
          <a:prstGeom prst="rect">
            <a:avLst/>
          </a:prstGeom>
        </p:spPr>
        <p:txBody>
          <a:bodyPr wrap="none" lIns="91429" tIns="45715" rIns="91429" bIns="45715">
            <a:normAutofit/>
          </a:bodyPr>
          <a:lstStyle/>
          <a:p>
            <a:pPr defTabSz="91430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>
              <a:solidFill>
                <a:srgbClr val="00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55" y="1687384"/>
            <a:ext cx="9051809" cy="426304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367" y="1687385"/>
            <a:ext cx="6026854" cy="282182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5756" y="378471"/>
            <a:ext cx="1001573" cy="119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394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8" r:id="rId2"/>
    <p:sldLayoutId id="2147483689" r:id="rId3"/>
    <p:sldLayoutId id="2147483690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5pPr>
      <a:lvl6pPr marL="457143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6pPr>
      <a:lvl7pPr marL="914285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7pPr>
      <a:lvl8pPr marL="1371428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8pPr>
      <a:lvl9pPr marL="1828572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9pPr>
    </p:titleStyle>
    <p:bodyStyle>
      <a:lvl1pPr marL="365079" indent="-255556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7143" indent="-246033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571">
          <a:solidFill>
            <a:schemeClr val="accent2"/>
          </a:solidFill>
          <a:latin typeface="+mn-lt"/>
        </a:defRPr>
      </a:lvl2pPr>
      <a:lvl3pPr marL="922223" indent="-219047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29">
          <a:solidFill>
            <a:schemeClr val="accent1"/>
          </a:solidFill>
          <a:latin typeface="+mn-lt"/>
        </a:defRPr>
      </a:lvl3pPr>
      <a:lvl4pPr marL="1179366" indent="-200000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14">
          <a:solidFill>
            <a:schemeClr val="accent1"/>
          </a:solidFill>
          <a:latin typeface="+mn-lt"/>
        </a:defRPr>
      </a:lvl4pPr>
      <a:lvl5pPr marL="1388888" indent="-182539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033" indent="-182539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175" indent="-182539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318" indent="-182539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460" indent="-182539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ru-RU"/>
      </a:defPPr>
      <a:lvl1pPr marL="0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85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8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2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5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7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invGray">
          <a:xfrm>
            <a:off x="12113687" y="-1587"/>
            <a:ext cx="76201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2058656" y="-1587"/>
            <a:ext cx="3810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12033255" y="-1587"/>
            <a:ext cx="12700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11969753" y="-1587"/>
            <a:ext cx="33866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1887204" y="2"/>
            <a:ext cx="74084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1834288" y="2"/>
            <a:ext cx="846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86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21787" y="4"/>
            <a:ext cx="618068" cy="379413"/>
          </a:xfrm>
          <a:prstGeom prst="rect">
            <a:avLst/>
          </a:prstGeom>
        </p:spPr>
        <p:txBody>
          <a:bodyPr wrap="none" lIns="91440" tIns="45720" rIns="91440" bIns="45720">
            <a:normAutofit/>
          </a:bodyPr>
          <a:lstStyle/>
          <a:p>
            <a:pPr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>
              <a:solidFill>
                <a:srgbClr val="000000"/>
              </a:solidFill>
            </a:endParaRPr>
          </a:p>
        </p:txBody>
      </p:sp>
      <p:sp>
        <p:nvSpPr>
          <p:cNvPr id="1037" name="Заголовок 21"/>
          <p:cNvSpPr>
            <a:spLocks noGrp="1"/>
          </p:cNvSpPr>
          <p:nvPr>
            <p:ph type="title"/>
          </p:nvPr>
        </p:nvSpPr>
        <p:spPr bwMode="auto">
          <a:xfrm>
            <a:off x="147201" y="138563"/>
            <a:ext cx="11133376" cy="62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38" name="Текст 12"/>
          <p:cNvSpPr>
            <a:spLocks noGrp="1"/>
          </p:cNvSpPr>
          <p:nvPr>
            <p:ph type="body" idx="1"/>
          </p:nvPr>
        </p:nvSpPr>
        <p:spPr bwMode="auto">
          <a:xfrm>
            <a:off x="143339" y="836712"/>
            <a:ext cx="11953414" cy="573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8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11088556" y="6597353"/>
            <a:ext cx="970317" cy="260648"/>
          </a:xfrm>
          <a:prstGeom prst="rect">
            <a:avLst/>
          </a:prstGeom>
        </p:spPr>
        <p:txBody>
          <a:bodyPr vert="horz" wrap="square" lIns="128016" tIns="64008" rIns="128016" bIns="64008" numCol="1" anchor="ctr" anchorCtr="0" compatLnSpc="1">
            <a:prstTxWarp prst="textNoShape">
              <a:avLst/>
            </a:prstTxWarp>
          </a:bodyPr>
          <a:lstStyle>
            <a:lvl1pPr algn="r">
              <a:defRPr sz="1214" b="0">
                <a:solidFill>
                  <a:schemeClr val="tx1"/>
                </a:solidFill>
                <a:latin typeface="+mn-lt"/>
              </a:defRPr>
            </a:lvl1pPr>
          </a:lstStyle>
          <a:p>
            <a:pPr defTabSz="914418" fontAlgn="base">
              <a:spcBef>
                <a:spcPct val="0"/>
              </a:spcBef>
              <a:spcAft>
                <a:spcPct val="0"/>
              </a:spcAft>
              <a:defRPr/>
            </a:pPr>
            <a:fld id="{90E909B7-EE4B-4FE9-A7E0-BDDDF935EA0C}" type="slidenum">
              <a:rPr lang="ru-RU" smtClean="0">
                <a:solidFill>
                  <a:prstClr val="black"/>
                </a:solidFill>
              </a:rPr>
              <a:pPr defTabSz="91441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942" y="116633"/>
            <a:ext cx="678679" cy="647429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>
            <a:off x="143340" y="784239"/>
            <a:ext cx="11970346" cy="0"/>
          </a:xfrm>
          <a:prstGeom prst="line">
            <a:avLst/>
          </a:prstGeom>
          <a:noFill/>
          <a:ln w="12700" cap="flat" cmpd="tri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r="18900000" sy="23000" kx="-1200000" algn="bl" rotWithShape="0">
              <a:schemeClr val="tx1">
                <a:alpha val="20000"/>
              </a:scheme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770007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5pPr>
      <a:lvl6pPr marL="457198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6pPr>
      <a:lvl7pPr marL="914395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7pPr>
      <a:lvl8pPr marL="1371593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8pPr>
      <a:lvl9pPr marL="1828791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9pPr>
    </p:titleStyle>
    <p:bodyStyle>
      <a:lvl1pPr marL="365123" indent="-255587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7222" indent="-246062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571">
          <a:solidFill>
            <a:schemeClr val="accent2"/>
          </a:solidFill>
          <a:latin typeface="+mn-lt"/>
        </a:defRPr>
      </a:lvl2pPr>
      <a:lvl3pPr marL="922334" indent="-21907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29">
          <a:solidFill>
            <a:schemeClr val="accent1"/>
          </a:solidFill>
          <a:latin typeface="+mn-lt"/>
        </a:defRPr>
      </a:lvl3pPr>
      <a:lvl4pPr marL="1179508" indent="-20002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14">
          <a:solidFill>
            <a:schemeClr val="accent1"/>
          </a:solidFill>
          <a:latin typeface="+mn-lt"/>
        </a:defRPr>
      </a:lvl4pPr>
      <a:lvl5pPr marL="138905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54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51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49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4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ru-RU"/>
      </a:defPPr>
      <a:lvl1pPr marL="0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3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1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9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6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4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2" algn="l" defTabSz="914395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invGray">
          <a:xfrm>
            <a:off x="12113686" y="-1587"/>
            <a:ext cx="76201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2058655" y="-1587"/>
            <a:ext cx="3810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12033254" y="-1587"/>
            <a:ext cx="12700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11969753" y="-1587"/>
            <a:ext cx="33866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1887203" y="2"/>
            <a:ext cx="74084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1834287" y="2"/>
            <a:ext cx="846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21787" y="4"/>
            <a:ext cx="618068" cy="379413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1037" name="Заголовок 21"/>
          <p:cNvSpPr>
            <a:spLocks noGrp="1"/>
          </p:cNvSpPr>
          <p:nvPr>
            <p:ph type="title"/>
          </p:nvPr>
        </p:nvSpPr>
        <p:spPr bwMode="auto">
          <a:xfrm>
            <a:off x="147200" y="138562"/>
            <a:ext cx="11133376" cy="62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38" name="Текст 12"/>
          <p:cNvSpPr>
            <a:spLocks noGrp="1"/>
          </p:cNvSpPr>
          <p:nvPr>
            <p:ph type="body" idx="1"/>
          </p:nvPr>
        </p:nvSpPr>
        <p:spPr bwMode="auto">
          <a:xfrm>
            <a:off x="143340" y="836712"/>
            <a:ext cx="11953415" cy="573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8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11088555" y="6597352"/>
            <a:ext cx="970317" cy="26064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defTabSz="914418" fontAlgn="base">
              <a:spcBef>
                <a:spcPct val="0"/>
              </a:spcBef>
              <a:spcAft>
                <a:spcPct val="0"/>
              </a:spcAft>
              <a:defRPr/>
            </a:pPr>
            <a:fld id="{90E909B7-EE4B-4FE9-A7E0-BDDDF935EA0C}" type="slidenum">
              <a:rPr lang="ru-RU" smtClean="0">
                <a:solidFill>
                  <a:prstClr val="black"/>
                </a:solidFill>
              </a:rPr>
              <a:pPr defTabSz="91441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941" y="116633"/>
            <a:ext cx="678679" cy="647429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>
            <a:off x="143339" y="784239"/>
            <a:ext cx="11970346" cy="0"/>
          </a:xfrm>
          <a:prstGeom prst="line">
            <a:avLst/>
          </a:prstGeom>
          <a:noFill/>
          <a:ln w="12700" cap="flat" cmpd="tri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r="18900000" sy="23000" kx="-1200000" algn="bl" rotWithShape="0">
              <a:schemeClr val="tx1">
                <a:alpha val="20000"/>
              </a:scheme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317640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5pPr>
      <a:lvl6pPr marL="457198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6pPr>
      <a:lvl7pPr marL="914395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7pPr>
      <a:lvl8pPr marL="1371593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8pPr>
      <a:lvl9pPr marL="1828791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9pPr>
    </p:titleStyle>
    <p:bodyStyle>
      <a:lvl1pPr marL="365123" indent="-255587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57222" indent="-246062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>
          <a:solidFill>
            <a:schemeClr val="accent2"/>
          </a:solidFill>
          <a:latin typeface="+mn-lt"/>
        </a:defRPr>
      </a:lvl2pPr>
      <a:lvl3pPr marL="922334" indent="-21907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>
          <a:solidFill>
            <a:schemeClr val="accent1"/>
          </a:solidFill>
          <a:latin typeface="+mn-lt"/>
        </a:defRPr>
      </a:lvl3pPr>
      <a:lvl4pPr marL="1179508" indent="-20002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>
          <a:solidFill>
            <a:schemeClr val="accent1"/>
          </a:solidFill>
          <a:latin typeface="+mn-lt"/>
        </a:defRPr>
      </a:lvl4pPr>
      <a:lvl5pPr marL="138905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54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51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49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4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ru-RU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3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6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4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invGray">
          <a:xfrm>
            <a:off x="12113686" y="-1587"/>
            <a:ext cx="76201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2058655" y="-1587"/>
            <a:ext cx="3810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12033254" y="-1587"/>
            <a:ext cx="12700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11969753" y="-1587"/>
            <a:ext cx="33866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1887203" y="2"/>
            <a:ext cx="74084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1834287" y="2"/>
            <a:ext cx="846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21787" y="4"/>
            <a:ext cx="618068" cy="379413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defTabSz="91441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1037" name="Заголовок 21"/>
          <p:cNvSpPr>
            <a:spLocks noGrp="1"/>
          </p:cNvSpPr>
          <p:nvPr>
            <p:ph type="title"/>
          </p:nvPr>
        </p:nvSpPr>
        <p:spPr bwMode="auto">
          <a:xfrm>
            <a:off x="147200" y="138562"/>
            <a:ext cx="11133376" cy="62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38" name="Текст 12"/>
          <p:cNvSpPr>
            <a:spLocks noGrp="1"/>
          </p:cNvSpPr>
          <p:nvPr>
            <p:ph type="body" idx="1"/>
          </p:nvPr>
        </p:nvSpPr>
        <p:spPr bwMode="auto">
          <a:xfrm>
            <a:off x="143340" y="836712"/>
            <a:ext cx="11953415" cy="573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8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11088555" y="6597352"/>
            <a:ext cx="970317" cy="26064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pPr defTabSz="914418" fontAlgn="base">
              <a:spcBef>
                <a:spcPct val="0"/>
              </a:spcBef>
              <a:spcAft>
                <a:spcPct val="0"/>
              </a:spcAft>
              <a:defRPr/>
            </a:pPr>
            <a:fld id="{90E909B7-EE4B-4FE9-A7E0-BDDDF935EA0C}" type="slidenum">
              <a:rPr lang="ru-RU" smtClean="0">
                <a:solidFill>
                  <a:prstClr val="black"/>
                </a:solidFill>
              </a:rPr>
              <a:pPr defTabSz="91441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941" y="116633"/>
            <a:ext cx="678679" cy="647429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>
            <a:off x="143339" y="784239"/>
            <a:ext cx="11970346" cy="0"/>
          </a:xfrm>
          <a:prstGeom prst="line">
            <a:avLst/>
          </a:prstGeom>
          <a:noFill/>
          <a:ln w="12700" cap="flat" cmpd="tri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r="18900000" sy="23000" kx="-1200000" algn="bl" rotWithShape="0">
              <a:schemeClr val="tx1">
                <a:alpha val="20000"/>
              </a:scheme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4020591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5pPr>
      <a:lvl6pPr marL="457198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6pPr>
      <a:lvl7pPr marL="914395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7pPr>
      <a:lvl8pPr marL="1371593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8pPr>
      <a:lvl9pPr marL="1828791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9pPr>
    </p:titleStyle>
    <p:bodyStyle>
      <a:lvl1pPr marL="365123" indent="-255587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57222" indent="-246062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>
          <a:solidFill>
            <a:schemeClr val="accent2"/>
          </a:solidFill>
          <a:latin typeface="+mn-lt"/>
        </a:defRPr>
      </a:lvl2pPr>
      <a:lvl3pPr marL="922334" indent="-21907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>
          <a:solidFill>
            <a:schemeClr val="accent1"/>
          </a:solidFill>
          <a:latin typeface="+mn-lt"/>
        </a:defRPr>
      </a:lvl3pPr>
      <a:lvl4pPr marL="1179508" indent="-200024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>
          <a:solidFill>
            <a:schemeClr val="accent1"/>
          </a:solidFill>
          <a:latin typeface="+mn-lt"/>
        </a:defRPr>
      </a:lvl4pPr>
      <a:lvl5pPr marL="138905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54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51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49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46" indent="-182562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ru-RU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3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6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4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13" Type="http://schemas.openxmlformats.org/officeDocument/2006/relationships/image" Target="../media/image13.emf"/><Relationship Id="rId3" Type="http://schemas.openxmlformats.org/officeDocument/2006/relationships/diagramLayout" Target="../diagrams/layout4.xml"/><Relationship Id="rId7" Type="http://schemas.openxmlformats.org/officeDocument/2006/relationships/image" Target="../media/image10.png"/><Relationship Id="rId12" Type="http://schemas.openxmlformats.org/officeDocument/2006/relationships/customXml" Target="../ink/ink3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4.xml"/><Relationship Id="rId11" Type="http://schemas.openxmlformats.org/officeDocument/2006/relationships/image" Target="../media/image12.emf"/><Relationship Id="rId5" Type="http://schemas.openxmlformats.org/officeDocument/2006/relationships/diagramColors" Target="../diagrams/colors4.xml"/><Relationship Id="rId15" Type="http://schemas.openxmlformats.org/officeDocument/2006/relationships/image" Target="../media/image14.emf"/><Relationship Id="rId10" Type="http://schemas.openxmlformats.org/officeDocument/2006/relationships/customXml" Target="../ink/ink2.xml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11.emf"/><Relationship Id="rId14" Type="http://schemas.openxmlformats.org/officeDocument/2006/relationships/customXml" Target="../ink/ink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6FA3A61269C6EAF942064679DD25363ECFCB1DC3DC8E96B8176923236D7341C81D1E3915865E6E7508C1503FB1661DA8F97D98AAD26FDAo2CBJ" TargetMode="External"/><Relationship Id="rId2" Type="http://schemas.openxmlformats.org/officeDocument/2006/relationships/hyperlink" Target="consultantplus://offline/ref=6FA3A61269C6EAF942064679DD25363ECFCB1DC3DC8E96B8176923236D7341C81D1E3915875D6A71049E552AA03E12ADE0639FB3CE6DD828oFCBJ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consultantplus://offline/ref=6FA3A61269C6EAF942064679DD25363ECFCB1DC3DC8E96B8176923236D7341C81D1E3915875D6B75029E552AA03E12ADE0639FB3CE6DD828oFCBJ" TargetMode="External"/><Relationship Id="rId5" Type="http://schemas.openxmlformats.org/officeDocument/2006/relationships/hyperlink" Target="consultantplus://offline/ref=6FA3A61269C6EAF942064679DD25363ECFCB1DC3DC8E96B8176923236D7341C81D1E3915875D6A7C069E552AA03E12ADE0639FB3CE6DD828oFCBJ" TargetMode="External"/><Relationship Id="rId4" Type="http://schemas.openxmlformats.org/officeDocument/2006/relationships/hyperlink" Target="consultantplus://offline/ref=6FA3A61269C6EAF942064679DD25363ECFCB1DC3DC8E96B8176923236D7341C81D1E3915875D6A72069E552AA03E12ADE0639FB3CE6DD828oFCBJ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F11E43-F609-4562-BC4A-CF3A32B850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5919" y="1838426"/>
            <a:ext cx="5909913" cy="2502568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pPr algn="l"/>
            <a:r>
              <a:rPr lang="ru-RU" sz="2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ИЕ </a:t>
            </a:r>
            <a:r>
              <a:rPr lang="ru-RU" sz="2400">
                <a:solidFill>
                  <a:schemeClr val="bg1"/>
                </a:solidFill>
                <a:cs typeface="Times New Roman" panose="02020603050405020304" pitchFamily="18" charset="0"/>
              </a:rPr>
              <a:t>РЕКОМЕНДАЦИИ</a:t>
            </a:r>
            <a:br>
              <a:rPr lang="ru-RU" sz="2400">
                <a:solidFill>
                  <a:schemeClr val="bg1"/>
                </a:solidFill>
                <a:cs typeface="Times New Roman" panose="02020603050405020304" pitchFamily="18" charset="0"/>
              </a:rPr>
            </a:br>
            <a:br>
              <a:rPr lang="ru-RU" sz="2000" dirty="0">
                <a:solidFill>
                  <a:schemeClr val="bg1"/>
                </a:solidFill>
                <a:cs typeface="Times New Roman" panose="02020603050405020304" pitchFamily="18" charset="0"/>
              </a:rPr>
            </a:br>
            <a:r>
              <a:rPr lang="ru-RU" sz="2000" dirty="0">
                <a:solidFill>
                  <a:schemeClr val="bg1"/>
                </a:solidFill>
                <a:cs typeface="Times New Roman" panose="02020603050405020304" pitchFamily="18" charset="0"/>
              </a:rPr>
              <a:t>ЗАКУПКА У ЕДИНСТВЕННОГО ПОСТАВЩИКА</a:t>
            </a:r>
            <a:br>
              <a:rPr lang="ru-RU" sz="2000" dirty="0">
                <a:solidFill>
                  <a:schemeClr val="bg1"/>
                </a:solidFill>
                <a:cs typeface="Times New Roman" panose="02020603050405020304" pitchFamily="18" charset="0"/>
              </a:rPr>
            </a:br>
            <a:endParaRPr lang="ru-RU" sz="2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868B97-157C-4CE2-A254-8E8122971BDD}"/>
              </a:ext>
            </a:extLst>
          </p:cNvPr>
          <p:cNvSpPr txBox="1"/>
          <p:nvPr/>
        </p:nvSpPr>
        <p:spPr>
          <a:xfrm>
            <a:off x="1388481" y="545284"/>
            <a:ext cx="6711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dirty="0"/>
              <a:t>ГКУ «Забайкальский центр государственных закупок»</a:t>
            </a:r>
          </a:p>
        </p:txBody>
      </p:sp>
    </p:spTree>
    <p:extLst>
      <p:ext uri="{BB962C8B-B14F-4D97-AF65-F5344CB8AC3E}">
        <p14:creationId xmlns:p14="http://schemas.microsoft.com/office/powerpoint/2010/main" val="3084331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94B4C1-5E84-0544-A811-442B4189B1E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оиск образцов/примеров тех.</a:t>
            </a:r>
            <a:r>
              <a:rPr lang="en-US" sz="28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заданий</a:t>
            </a:r>
          </a:p>
        </p:txBody>
      </p:sp>
      <p:graphicFrame>
        <p:nvGraphicFramePr>
          <p:cNvPr id="34" name="Схема 33"/>
          <p:cNvGraphicFramePr/>
          <p:nvPr>
            <p:extLst>
              <p:ext uri="{D42A27DB-BD31-4B8C-83A1-F6EECF244321}">
                <p14:modId xmlns:p14="http://schemas.microsoft.com/office/powerpoint/2010/main" val="1561898230"/>
              </p:ext>
            </p:extLst>
          </p:nvPr>
        </p:nvGraphicFramePr>
        <p:xfrm>
          <a:off x="1020341" y="1444713"/>
          <a:ext cx="9566319" cy="7343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051" y="2609850"/>
            <a:ext cx="8520901" cy="3581400"/>
          </a:xfrm>
          <a:prstGeom prst="rect">
            <a:avLst/>
          </a:prstGeom>
          <a:ln w="25400">
            <a:solidFill>
              <a:schemeClr val="bg2">
                <a:lumMod val="90000"/>
              </a:schemeClr>
            </a:solidFill>
          </a:ln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7" name="Рукописный ввод 6">
                <a:extLst>
                  <a:ext uri="{FF2B5EF4-FFF2-40B4-BE49-F238E27FC236}">
                    <a16:creationId xmlns:a16="http://schemas.microsoft.com/office/drawing/2014/main" id="{B1BA5606-F67D-D84D-9A7D-6DD7BB06FEA9}"/>
                  </a:ext>
                </a:extLst>
              </p14:cNvPr>
              <p14:cNvContentPartPr/>
              <p14:nvPr/>
            </p14:nvContentPartPr>
            <p14:xfrm rot="768636">
              <a:off x="6626824" y="2588397"/>
              <a:ext cx="1008771" cy="487316"/>
            </p14:xfrm>
          </p:contentPart>
        </mc:Choice>
        <mc:Fallback>
          <p:pic>
            <p:nvPicPr>
              <p:cNvPr id="7" name="Рукописный ввод 6">
                <a:extLst>
                  <a:ext uri="{FF2B5EF4-FFF2-40B4-BE49-F238E27FC236}">
                    <a16:creationId xmlns:a16="http://schemas.microsoft.com/office/drawing/2014/main" id="{B1BA5606-F67D-D84D-9A7D-6DD7BB06FEA9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 rot="768636">
                <a:off x="6610983" y="2572561"/>
                <a:ext cx="1040093" cy="5186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0">
            <p14:nvContentPartPr>
              <p14:cNvPr id="9" name="Рукописный ввод 8">
                <a:extLst>
                  <a:ext uri="{FF2B5EF4-FFF2-40B4-BE49-F238E27FC236}">
                    <a16:creationId xmlns:a16="http://schemas.microsoft.com/office/drawing/2014/main" id="{751F5893-173D-7D45-A17A-E9E3EBF535F7}"/>
                  </a:ext>
                </a:extLst>
              </p14:cNvPr>
              <p14:cNvContentPartPr/>
              <p14:nvPr/>
            </p14:nvContentPartPr>
            <p14:xfrm>
              <a:off x="4995725" y="2629876"/>
              <a:ext cx="958207" cy="360124"/>
            </p14:xfrm>
          </p:contentPart>
        </mc:Choice>
        <mc:Fallback>
          <p:pic>
            <p:nvPicPr>
              <p:cNvPr id="9" name="Рукописный ввод 8">
                <a:extLst>
                  <a:ext uri="{FF2B5EF4-FFF2-40B4-BE49-F238E27FC236}">
                    <a16:creationId xmlns:a16="http://schemas.microsoft.com/office/drawing/2014/main" id="{751F5893-173D-7D45-A17A-E9E3EBF535F7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979887" y="2614031"/>
                <a:ext cx="989523" cy="39145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2">
            <p14:nvContentPartPr>
              <p14:cNvPr id="14" name="Рукописный ввод 13">
                <a:extLst>
                  <a:ext uri="{FF2B5EF4-FFF2-40B4-BE49-F238E27FC236}">
                    <a16:creationId xmlns:a16="http://schemas.microsoft.com/office/drawing/2014/main" id="{A943020B-DAC6-F74F-A94A-924217544EEE}"/>
                  </a:ext>
                </a:extLst>
              </p14:cNvPr>
              <p14:cNvContentPartPr/>
              <p14:nvPr/>
            </p14:nvContentPartPr>
            <p14:xfrm rot="11271228">
              <a:off x="6882866" y="4708396"/>
              <a:ext cx="831010" cy="355974"/>
            </p14:xfrm>
          </p:contentPart>
        </mc:Choice>
        <mc:Fallback>
          <p:pic>
            <p:nvPicPr>
              <p:cNvPr id="14" name="Рукописный ввод 13">
                <a:extLst>
                  <a:ext uri="{FF2B5EF4-FFF2-40B4-BE49-F238E27FC236}">
                    <a16:creationId xmlns:a16="http://schemas.microsoft.com/office/drawing/2014/main" id="{A943020B-DAC6-F74F-A94A-924217544EEE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 rot="11271228">
                <a:off x="6867030" y="4692559"/>
                <a:ext cx="862321" cy="38728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14">
            <p14:nvContentPartPr>
              <p14:cNvPr id="16" name="Рукописный ввод 15">
                <a:extLst>
                  <a:ext uri="{FF2B5EF4-FFF2-40B4-BE49-F238E27FC236}">
                    <a16:creationId xmlns:a16="http://schemas.microsoft.com/office/drawing/2014/main" id="{F36D7899-C60F-8548-9D80-55E402A1C4C1}"/>
                  </a:ext>
                </a:extLst>
              </p14:cNvPr>
              <p14:cNvContentPartPr/>
              <p14:nvPr/>
            </p14:nvContentPartPr>
            <p14:xfrm rot="10800000">
              <a:off x="2128049" y="3055354"/>
              <a:ext cx="923816" cy="404393"/>
            </p14:xfrm>
          </p:contentPart>
        </mc:Choice>
        <mc:Fallback>
          <p:pic>
            <p:nvPicPr>
              <p:cNvPr id="16" name="Рукописный ввод 15">
                <a:extLst>
                  <a:ext uri="{FF2B5EF4-FFF2-40B4-BE49-F238E27FC236}">
                    <a16:creationId xmlns:a16="http://schemas.microsoft.com/office/drawing/2014/main" id="{F36D7899-C60F-8548-9D80-55E402A1C4C1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 rot="10800000">
                <a:off x="2112214" y="3039524"/>
                <a:ext cx="955126" cy="435694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2778898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2">
                <a:lumMod val="90000"/>
              </a:schemeClr>
            </a:gs>
            <a:gs pos="100000">
              <a:schemeClr val="bg2">
                <a:lumMod val="7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2725558-134A-274E-ADCA-81691BFBFC48}"/>
              </a:ext>
            </a:extLst>
          </p:cNvPr>
          <p:cNvSpPr/>
          <p:nvPr/>
        </p:nvSpPr>
        <p:spPr>
          <a:xfrm>
            <a:off x="1543050" y="3098817"/>
            <a:ext cx="9113838" cy="2606658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algn="ctr">
              <a:spcAft>
                <a:spcPts val="600"/>
              </a:spcAft>
            </a:pPr>
            <a:r>
              <a:rPr lang="ru-RU" sz="240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По всем возникающим вопросам работы сервисов ЭТП ГПБ обращаться:</a:t>
            </a:r>
          </a:p>
          <a:p>
            <a:pPr algn="ctr">
              <a:spcAft>
                <a:spcPts val="600"/>
              </a:spcAft>
            </a:pPr>
            <a:r>
              <a:rPr lang="ru-RU" sz="2400" dirty="0" err="1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Хаберев</a:t>
            </a:r>
            <a:r>
              <a:rPr lang="ru-RU" sz="240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Игорь Анатольевич</a:t>
            </a:r>
          </a:p>
          <a:p>
            <a:pPr algn="ctr">
              <a:spcAft>
                <a:spcPts val="600"/>
              </a:spcAft>
            </a:pPr>
            <a:r>
              <a:rPr lang="ru-RU" sz="240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Региональный представитель в Забайкальском крае</a:t>
            </a:r>
          </a:p>
          <a:p>
            <a:pPr algn="ctr">
              <a:spcAft>
                <a:spcPts val="600"/>
              </a:spcAft>
            </a:pPr>
            <a:r>
              <a:rPr lang="ru-RU" sz="240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8 (964) 464 22 44</a:t>
            </a:r>
          </a:p>
          <a:p>
            <a:pPr algn="ctr">
              <a:spcAft>
                <a:spcPts val="600"/>
              </a:spcAft>
            </a:pPr>
            <a:r>
              <a:rPr lang="en-US" sz="240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.khaberev@etpgpb.ru</a:t>
            </a:r>
            <a:endParaRPr lang="en" sz="2400" dirty="0">
              <a:solidFill>
                <a:schemeClr val="tx2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4522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64B1B4-6AE7-4CA5-B6E1-1A2B08C5E9E1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 действий</a:t>
            </a:r>
          </a:p>
        </p:txBody>
      </p:sp>
      <p:sp>
        <p:nvSpPr>
          <p:cNvPr id="18" name="Объект 17">
            <a:extLst>
              <a:ext uri="{FF2B5EF4-FFF2-40B4-BE49-F238E27FC236}">
                <a16:creationId xmlns:a16="http://schemas.microsoft.com/office/drawing/2014/main" id="{73F37017-7AC8-4BA8-9F20-36AF0FAFE418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7010400" y="1843088"/>
            <a:ext cx="5181600" cy="4351337"/>
          </a:xfr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457145"/>
            <a:r>
              <a:rPr lang="ru-RU" sz="1600" kern="1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B432982-28A6-49BB-83E5-945DDD3E663F}"/>
              </a:ext>
            </a:extLst>
          </p:cNvPr>
          <p:cNvGrpSpPr/>
          <p:nvPr/>
        </p:nvGrpSpPr>
        <p:grpSpPr>
          <a:xfrm>
            <a:off x="7547825" y="1938579"/>
            <a:ext cx="3831341" cy="2661912"/>
            <a:chOff x="746270" y="2110953"/>
            <a:chExt cx="3831341" cy="2661912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79C19B95-CDEC-44C7-8466-E90E8BC31626}"/>
                </a:ext>
              </a:extLst>
            </p:cNvPr>
            <p:cNvSpPr/>
            <p:nvPr/>
          </p:nvSpPr>
          <p:spPr>
            <a:xfrm>
              <a:off x="746270" y="2110953"/>
              <a:ext cx="3732752" cy="729842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ыбор способа определения поставщика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4A3B661D-2B85-48AC-BF75-E0493BAA961D}"/>
                </a:ext>
              </a:extLst>
            </p:cNvPr>
            <p:cNvSpPr/>
            <p:nvPr/>
          </p:nvSpPr>
          <p:spPr>
            <a:xfrm>
              <a:off x="746270" y="3150067"/>
              <a:ext cx="1797596" cy="44042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курентные способы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458F9B9F-2AE0-4CB8-AEE8-64C0A234328B}"/>
                </a:ext>
              </a:extLst>
            </p:cNvPr>
            <p:cNvSpPr/>
            <p:nvPr/>
          </p:nvSpPr>
          <p:spPr>
            <a:xfrm>
              <a:off x="2696266" y="3150067"/>
              <a:ext cx="1782756" cy="44042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еконкурентные способы</a:t>
              </a:r>
            </a:p>
          </p:txBody>
        </p:sp>
        <p:sp>
          <p:nvSpPr>
            <p:cNvPr id="11" name="Стрелка: вниз 10">
              <a:extLst>
                <a:ext uri="{FF2B5EF4-FFF2-40B4-BE49-F238E27FC236}">
                  <a16:creationId xmlns:a16="http://schemas.microsoft.com/office/drawing/2014/main" id="{55E993BF-286C-41C5-A1E9-4401036F977B}"/>
                </a:ext>
              </a:extLst>
            </p:cNvPr>
            <p:cNvSpPr/>
            <p:nvPr/>
          </p:nvSpPr>
          <p:spPr>
            <a:xfrm>
              <a:off x="1405203" y="2838559"/>
              <a:ext cx="385894" cy="309272"/>
            </a:xfrm>
            <a:prstGeom prst="downArrow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Стрелка: вниз 11">
              <a:extLst>
                <a:ext uri="{FF2B5EF4-FFF2-40B4-BE49-F238E27FC236}">
                  <a16:creationId xmlns:a16="http://schemas.microsoft.com/office/drawing/2014/main" id="{3040843B-AA4A-4E57-B8DB-876D672DF455}"/>
                </a:ext>
              </a:extLst>
            </p:cNvPr>
            <p:cNvSpPr/>
            <p:nvPr/>
          </p:nvSpPr>
          <p:spPr>
            <a:xfrm>
              <a:off x="3329128" y="2836521"/>
              <a:ext cx="385894" cy="309272"/>
            </a:xfrm>
            <a:prstGeom prst="downArrow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D30B4AD3-546C-4366-96FD-A16BDF6C4819}"/>
                </a:ext>
              </a:extLst>
            </p:cNvPr>
            <p:cNvSpPr/>
            <p:nvPr/>
          </p:nvSpPr>
          <p:spPr>
            <a:xfrm>
              <a:off x="760619" y="3899760"/>
              <a:ext cx="1988192" cy="87310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укцион</a:t>
              </a:r>
            </a:p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курс</a:t>
              </a:r>
            </a:p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прос котировок</a:t>
              </a: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52770C85-E14D-4F1F-AED8-52C9A3B91C22}"/>
                </a:ext>
              </a:extLst>
            </p:cNvPr>
            <p:cNvSpPr/>
            <p:nvPr/>
          </p:nvSpPr>
          <p:spPr>
            <a:xfrm>
              <a:off x="2826392" y="3899759"/>
              <a:ext cx="1751219" cy="873106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ка у единственного поставщика (ЕП)</a:t>
              </a:r>
            </a:p>
          </p:txBody>
        </p:sp>
        <p:sp>
          <p:nvSpPr>
            <p:cNvPr id="15" name="Стрелка: вниз 14">
              <a:extLst>
                <a:ext uri="{FF2B5EF4-FFF2-40B4-BE49-F238E27FC236}">
                  <a16:creationId xmlns:a16="http://schemas.microsoft.com/office/drawing/2014/main" id="{697EEC5C-2CF4-4D77-9D2D-E0F433EBA210}"/>
                </a:ext>
              </a:extLst>
            </p:cNvPr>
            <p:cNvSpPr/>
            <p:nvPr/>
          </p:nvSpPr>
          <p:spPr>
            <a:xfrm>
              <a:off x="1405203" y="3590487"/>
              <a:ext cx="385894" cy="309271"/>
            </a:xfrm>
            <a:prstGeom prst="downArrow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Стрелка: вниз 15">
              <a:extLst>
                <a:ext uri="{FF2B5EF4-FFF2-40B4-BE49-F238E27FC236}">
                  <a16:creationId xmlns:a16="http://schemas.microsoft.com/office/drawing/2014/main" id="{E31433F9-4CAC-4CA0-8C30-02F873FBF2B9}"/>
                </a:ext>
              </a:extLst>
            </p:cNvPr>
            <p:cNvSpPr/>
            <p:nvPr/>
          </p:nvSpPr>
          <p:spPr>
            <a:xfrm>
              <a:off x="3316107" y="3590487"/>
              <a:ext cx="385894" cy="309271"/>
            </a:xfrm>
            <a:prstGeom prst="downArrow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A428FF33-6A51-42FD-9D33-0FE3294D9E7D}"/>
              </a:ext>
            </a:extLst>
          </p:cNvPr>
          <p:cNvGrpSpPr/>
          <p:nvPr/>
        </p:nvGrpSpPr>
        <p:grpSpPr>
          <a:xfrm>
            <a:off x="1446096" y="1938579"/>
            <a:ext cx="4300164" cy="2603912"/>
            <a:chOff x="6797764" y="1825625"/>
            <a:chExt cx="4300164" cy="254512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227C7967-BC7C-4847-9412-CF722004E556}"/>
                </a:ext>
              </a:extLst>
            </p:cNvPr>
            <p:cNvSpPr/>
            <p:nvPr/>
          </p:nvSpPr>
          <p:spPr>
            <a:xfrm>
              <a:off x="6797765" y="1825625"/>
              <a:ext cx="4300163" cy="714358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боснование НМЦК</a:t>
              </a:r>
            </a:p>
          </p:txBody>
        </p:sp>
        <p:sp>
          <p:nvSpPr>
            <p:cNvPr id="25" name="Стрелка: вправо 24">
              <a:extLst>
                <a:ext uri="{FF2B5EF4-FFF2-40B4-BE49-F238E27FC236}">
                  <a16:creationId xmlns:a16="http://schemas.microsoft.com/office/drawing/2014/main" id="{AA8A2AEF-5A88-47C7-81A5-C1F4017EDE3E}"/>
                </a:ext>
              </a:extLst>
            </p:cNvPr>
            <p:cNvSpPr/>
            <p:nvPr/>
          </p:nvSpPr>
          <p:spPr>
            <a:xfrm>
              <a:off x="6797765" y="2918635"/>
              <a:ext cx="412359" cy="332627"/>
            </a:xfrm>
            <a:prstGeom prst="rightArrow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D0829BDB-F5B5-407F-A2A5-4D4B64345818}"/>
                </a:ext>
              </a:extLst>
            </p:cNvPr>
            <p:cNvSpPr/>
            <p:nvPr/>
          </p:nvSpPr>
          <p:spPr>
            <a:xfrm>
              <a:off x="7210124" y="2688168"/>
              <a:ext cx="2213010" cy="74083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етод сопоставимых рыночных цен </a:t>
              </a:r>
            </a:p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анализ рынка)</a:t>
              </a:r>
            </a:p>
            <a:p>
              <a:pPr algn="ctr"/>
              <a:endPara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Стрелка: вправо 26">
              <a:extLst>
                <a:ext uri="{FF2B5EF4-FFF2-40B4-BE49-F238E27FC236}">
                  <a16:creationId xmlns:a16="http://schemas.microsoft.com/office/drawing/2014/main" id="{2AAB1EF2-FD6F-49D2-981E-4E8AA525FE0C}"/>
                </a:ext>
              </a:extLst>
            </p:cNvPr>
            <p:cNvSpPr/>
            <p:nvPr/>
          </p:nvSpPr>
          <p:spPr>
            <a:xfrm>
              <a:off x="6797764" y="3830437"/>
              <a:ext cx="412359" cy="332627"/>
            </a:xfrm>
            <a:prstGeom prst="rightArrow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A21E6EC5-4B95-4686-AD08-56F14DB70950}"/>
                </a:ext>
              </a:extLst>
            </p:cNvPr>
            <p:cNvSpPr/>
            <p:nvPr/>
          </p:nvSpPr>
          <p:spPr>
            <a:xfrm>
              <a:off x="7213042" y="3577184"/>
              <a:ext cx="2210092" cy="79356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ектно-сметный метод</a:t>
              </a:r>
            </a:p>
            <a:p>
              <a:pPr algn="ctr"/>
              <a:endPara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93182BBC-C0F3-43BF-BF2E-5F86A03A8B6F}"/>
                </a:ext>
              </a:extLst>
            </p:cNvPr>
            <p:cNvSpPr/>
            <p:nvPr/>
          </p:nvSpPr>
          <p:spPr>
            <a:xfrm>
              <a:off x="9575534" y="2688168"/>
              <a:ext cx="1522394" cy="74083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вары, работы, услуги (кроме СМР)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C48BC02A-2919-4BB9-BE4C-A120D78D13FD}"/>
                </a:ext>
              </a:extLst>
            </p:cNvPr>
            <p:cNvSpPr/>
            <p:nvPr/>
          </p:nvSpPr>
          <p:spPr>
            <a:xfrm>
              <a:off x="9575534" y="3577184"/>
              <a:ext cx="1522394" cy="79356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троительно-монтажные работы (СМР)</a:t>
              </a:r>
            </a:p>
          </p:txBody>
        </p:sp>
      </p:grp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46CD9E10-BA48-40C1-ADBC-CE5388B6BCEA}"/>
              </a:ext>
            </a:extLst>
          </p:cNvPr>
          <p:cNvSpPr/>
          <p:nvPr/>
        </p:nvSpPr>
        <p:spPr>
          <a:xfrm>
            <a:off x="1446096" y="4999839"/>
            <a:ext cx="4300163" cy="9479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сении позиции в План-график либо изменение имеющейся позиции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57C8866-7AC3-43AB-873E-63894F5C414F}"/>
              </a:ext>
            </a:extLst>
          </p:cNvPr>
          <p:cNvSpPr txBox="1"/>
          <p:nvPr/>
        </p:nvSpPr>
        <p:spPr>
          <a:xfrm>
            <a:off x="912758" y="4852614"/>
            <a:ext cx="4587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3AC3C9A-A36A-4434-9100-B662E0D01C96}"/>
              </a:ext>
            </a:extLst>
          </p:cNvPr>
          <p:cNvSpPr txBox="1"/>
          <p:nvPr/>
        </p:nvSpPr>
        <p:spPr>
          <a:xfrm>
            <a:off x="7049723" y="4903951"/>
            <a:ext cx="4587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8AF0711E-0EFE-4738-B55E-A45A041579C7}"/>
              </a:ext>
            </a:extLst>
          </p:cNvPr>
          <p:cNvSpPr/>
          <p:nvPr/>
        </p:nvSpPr>
        <p:spPr>
          <a:xfrm>
            <a:off x="7547825" y="4999839"/>
            <a:ext cx="3732751" cy="9479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упочная процедура. </a:t>
            </a:r>
          </a:p>
          <a:p>
            <a:pPr algn="ctr"/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заключение контракта с ЕП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632DD0-9258-49C8-B9FB-67721AAE01C5}"/>
              </a:ext>
            </a:extLst>
          </p:cNvPr>
          <p:cNvSpPr txBox="1"/>
          <p:nvPr/>
        </p:nvSpPr>
        <p:spPr>
          <a:xfrm>
            <a:off x="2047150" y="1058371"/>
            <a:ext cx="70390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cs typeface="Times New Roman" panose="02020603050405020304" pitchFamily="18" charset="0"/>
              </a:rPr>
              <a:t>Доведение ЛБО до учреждения</a:t>
            </a:r>
            <a:endParaRPr lang="ru-RU" sz="32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C6FEE80-0CE8-4944-BA6A-5760625FE6A4}"/>
              </a:ext>
            </a:extLst>
          </p:cNvPr>
          <p:cNvSpPr txBox="1"/>
          <p:nvPr/>
        </p:nvSpPr>
        <p:spPr>
          <a:xfrm>
            <a:off x="911423" y="1743776"/>
            <a:ext cx="4539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63176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00C45FA8-1352-4CF2-BEF9-E1758CB1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201" y="138563"/>
            <a:ext cx="10950727" cy="1035719"/>
          </a:xfr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>
            <a:normAutofit fontScale="90000"/>
          </a:bodyPr>
          <a:lstStyle/>
          <a:p>
            <a:pPr algn="ctr"/>
            <a:r>
              <a:rPr lang="ru-RU" sz="31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НМЦК </a:t>
            </a:r>
            <a:br>
              <a:rPr lang="ru-RU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ru-RU" sz="2000" dirty="0">
                <a:solidFill>
                  <a:schemeClr val="accent5">
                    <a:lumMod val="50000"/>
                  </a:schemeClr>
                </a:solidFill>
              </a:rPr>
              <a:t>(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ИЕ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 РЕКОМЕНДАЦИИ ПО ПРИМЕНЕНИЮ МЕТОДОВ ОПРЕДЕЛЕНИЯ НМЦК – Приказ Минэкономразвития России от 02.10.2013 N 567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BEEB471-0B93-41B8-916A-A8821E9403C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35127" y="1382863"/>
            <a:ext cx="10515600" cy="4667250"/>
          </a:xfr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 сопоставимых рыночных цен (анализ рынка)</a:t>
            </a:r>
          </a:p>
          <a:p>
            <a:pPr marL="0" indent="0">
              <a:buNone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рынка: </a:t>
            </a:r>
          </a:p>
          <a:p>
            <a:pPr marL="0" indent="0" algn="just">
              <a:buNone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де взять информацию о цене: из запроса ценовых предложений, информации с сайтов поставщиков (иных открытых источников), из реестра контрактов размещенном в ЕИС. Используемые для расчета цены не должны различаться более чем на 33% ( коэффициент вариации). Рекомендуется для расчета использовать не менее трех ценовых предложений. Примерная форма расчета НМЦК методом сопоставимых рыночных цен прилагается.</a:t>
            </a:r>
          </a:p>
          <a:p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но-сметный метод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яется при закупке строительно-монтажных работ.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атывается проектно-сметная документация (ПСД) в том объеме, в котором она необходима учитывая предмет закупки.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чет НМЦК производится по форме утвержденной Приказом Минстроя России от 23.12.2019 N 841/пр. Данные берутся из сметы.</a:t>
            </a:r>
          </a:p>
          <a:p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ые методы: нормативный, тарифный, затратный</a:t>
            </a:r>
          </a:p>
          <a:p>
            <a:pPr marL="0" indent="0">
              <a:buNone/>
            </a:pP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31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B55CB0-248E-4A6F-AADF-AB910776D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закупок у единственного поставщика</a:t>
            </a:r>
          </a:p>
        </p:txBody>
      </p:sp>
      <p:graphicFrame>
        <p:nvGraphicFramePr>
          <p:cNvPr id="7" name="Таблица 7">
            <a:extLst>
              <a:ext uri="{FF2B5EF4-FFF2-40B4-BE49-F238E27FC236}">
                <a16:creationId xmlns:a16="http://schemas.microsoft.com/office/drawing/2014/main" id="{1ABBEBE0-E4A6-48F9-B43E-43217F46C2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9126361"/>
              </p:ext>
            </p:extLst>
          </p:nvPr>
        </p:nvGraphicFramePr>
        <p:xfrm>
          <a:off x="431533" y="851222"/>
          <a:ext cx="11328934" cy="5641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7558">
                  <a:extLst>
                    <a:ext uri="{9D8B030D-6E8A-4147-A177-3AD203B41FA5}">
                      <a16:colId xmlns:a16="http://schemas.microsoft.com/office/drawing/2014/main" val="391671943"/>
                    </a:ext>
                  </a:extLst>
                </a:gridCol>
                <a:gridCol w="2040556">
                  <a:extLst>
                    <a:ext uri="{9D8B030D-6E8A-4147-A177-3AD203B41FA5}">
                      <a16:colId xmlns:a16="http://schemas.microsoft.com/office/drawing/2014/main" val="3245226381"/>
                    </a:ext>
                  </a:extLst>
                </a:gridCol>
                <a:gridCol w="2300438">
                  <a:extLst>
                    <a:ext uri="{9D8B030D-6E8A-4147-A177-3AD203B41FA5}">
                      <a16:colId xmlns:a16="http://schemas.microsoft.com/office/drawing/2014/main" val="3456493864"/>
                    </a:ext>
                  </a:extLst>
                </a:gridCol>
                <a:gridCol w="2464067">
                  <a:extLst>
                    <a:ext uri="{9D8B030D-6E8A-4147-A177-3AD203B41FA5}">
                      <a16:colId xmlns:a16="http://schemas.microsoft.com/office/drawing/2014/main" val="2897352012"/>
                    </a:ext>
                  </a:extLst>
                </a:gridCol>
                <a:gridCol w="2406315">
                  <a:extLst>
                    <a:ext uri="{9D8B030D-6E8A-4147-A177-3AD203B41FA5}">
                      <a16:colId xmlns:a16="http://schemas.microsoft.com/office/drawing/2014/main" val="1796975020"/>
                    </a:ext>
                  </a:extLst>
                </a:gridCol>
              </a:tblGrid>
              <a:tr h="809088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муниципального учрежд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. 5 ч. 1 ст. 93 44-ФЗ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. 4 ч. 1 ст. 93 44-ФЗ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ч. 12 ст. 93 44-ФЗ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меча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8657486"/>
                  </a:ext>
                </a:extLst>
              </a:tr>
              <a:tr h="329628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льтуры</a:t>
                      </a:r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одного договора ≤ 600 тыс. руб.</a:t>
                      </a:r>
                    </a:p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умма всех договоров по данному пункту в год ≤ 5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ЛИ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% от СГОЗ*(≤ 30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одного договора ≤ 600 тыс. руб.</a:t>
                      </a:r>
                    </a:p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сех договоров по данному пункту в год ≤ 2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ЛИ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% от СГОЗ*(≤ 50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sng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ОЛЬКО ТОВАР!</a:t>
                      </a:r>
                    </a:p>
                    <a:p>
                      <a:pPr algn="just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купка по п. 4 и 5 в электронном виде через ЭТП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одного договора ≤ 3 млн. руб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 п. 4 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сех договоров по данному пункту в год ≤ 2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ЛИ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% от СГОЗ*(≤ 50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. Для СП -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умма всех договоров по данному пункту не ограничена.</a:t>
                      </a:r>
                    </a:p>
                    <a:p>
                      <a:pPr algn="just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 п. 5 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сех договоров по данному пункту в год ≤ 5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50% от СГОЗ*(≤ 30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праве закупать у ЕП в год:</a:t>
                      </a:r>
                    </a:p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п.4) + 5 млн. </a:t>
                      </a:r>
                      <a:r>
                        <a:rPr lang="ru-RU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</a:t>
                      </a: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п.5) = 7 млн. руб. </a:t>
                      </a:r>
                    </a:p>
                    <a:p>
                      <a:r>
                        <a:rPr lang="ru-RU" sz="16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ЛИ</a:t>
                      </a:r>
                    </a:p>
                    <a:p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 СГОЗ(п.4) + 50% СГОЗ (п.5) = 60% СГОЗ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280804"/>
                  </a:ext>
                </a:extLst>
              </a:tr>
              <a:tr h="329628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тельное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6621605"/>
                  </a:ext>
                </a:extLst>
              </a:tr>
              <a:tr h="329628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учное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012055"/>
                  </a:ext>
                </a:extLst>
              </a:tr>
              <a:tr h="569358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ое (для детей сирот)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1840788"/>
                  </a:ext>
                </a:extLst>
              </a:tr>
              <a:tr h="92895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культурно-спортивное 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772592"/>
                  </a:ext>
                </a:extLst>
              </a:tr>
              <a:tr h="809088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муниципальные организации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во закупки по данному пункту отсутствует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8377238"/>
                  </a:ext>
                </a:extLst>
              </a:tr>
              <a:tr h="146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и сельских поселений, Заказчики, осуществляющие закупки для нужд С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во закупки по данному пункту отсутствуе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умма одного договора ≤ 600 тыс. руб.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умма всех договоров по данному пункту не ограничена.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6262519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BF220EB-000B-4C93-ACA4-E5525FFFA5C1}"/>
              </a:ext>
            </a:extLst>
          </p:cNvPr>
          <p:cNvSpPr txBox="1"/>
          <p:nvPr/>
        </p:nvSpPr>
        <p:spPr>
          <a:xfrm>
            <a:off x="431533" y="6633940"/>
            <a:ext cx="10039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*СГОЗ – совокупный годовой объем закупок</a:t>
            </a:r>
          </a:p>
        </p:txBody>
      </p:sp>
    </p:spTree>
    <p:extLst>
      <p:ext uri="{BB962C8B-B14F-4D97-AF65-F5344CB8AC3E}">
        <p14:creationId xmlns:p14="http://schemas.microsoft.com/office/powerpoint/2010/main" val="844917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26B5672-A2C8-4681-8E82-86E666196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201" y="138563"/>
            <a:ext cx="11133376" cy="1035719"/>
          </a:xfr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32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посчитать совокупный годовой объем закупок (СГОЗ)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CFE2455-0B0E-4CC7-B460-EDF76635B1B5}"/>
              </a:ext>
            </a:extLst>
          </p:cNvPr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  <a:p>
            <a:endParaRPr lang="ru-RU" dirty="0"/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B33C2D91-91E6-4798-A257-97FB34756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1821220"/>
              </p:ext>
            </p:extLst>
          </p:nvPr>
        </p:nvGraphicFramePr>
        <p:xfrm>
          <a:off x="702644" y="2281187"/>
          <a:ext cx="10847671" cy="3212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4735">
                  <a:extLst>
                    <a:ext uri="{9D8B030D-6E8A-4147-A177-3AD203B41FA5}">
                      <a16:colId xmlns:a16="http://schemas.microsoft.com/office/drawing/2014/main" val="2562530624"/>
                    </a:ext>
                  </a:extLst>
                </a:gridCol>
                <a:gridCol w="3800471">
                  <a:extLst>
                    <a:ext uri="{9D8B030D-6E8A-4147-A177-3AD203B41FA5}">
                      <a16:colId xmlns:a16="http://schemas.microsoft.com/office/drawing/2014/main" val="104402437"/>
                    </a:ext>
                  </a:extLst>
                </a:gridCol>
                <a:gridCol w="3162465">
                  <a:extLst>
                    <a:ext uri="{9D8B030D-6E8A-4147-A177-3AD203B41FA5}">
                      <a16:colId xmlns:a16="http://schemas.microsoft.com/office/drawing/2014/main" val="1096801573"/>
                    </a:ext>
                  </a:extLst>
                </a:gridCol>
              </a:tblGrid>
              <a:tr h="1069853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Заказч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униципальные Заказчики (казенные учреждения, органы местного самоуправления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Бюджетные учрежде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7759085"/>
                  </a:ext>
                </a:extLst>
              </a:tr>
              <a:tr h="1069853">
                <a:tc>
                  <a:txBody>
                    <a:bodyPr/>
                    <a:lstStyle/>
                    <a:p>
                      <a:r>
                        <a:rPr lang="ru-RU" dirty="0"/>
                        <a:t>Где взять суммы для расчета –в документе  подтверждающем финансирование (ЛБО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Бюджетная сме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лан финансово-хозяйственной деятельности (ПФХД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813367"/>
                  </a:ext>
                </a:extLst>
              </a:tr>
              <a:tr h="1072397">
                <a:tc>
                  <a:txBody>
                    <a:bodyPr/>
                    <a:lstStyle/>
                    <a:p>
                      <a:r>
                        <a:rPr lang="ru-RU" dirty="0"/>
                        <a:t>Какие суммы учитывать- суммы доведенные по </a:t>
                      </a:r>
                      <a:r>
                        <a:rPr lang="ru-RU" b="1" u="sng" dirty="0"/>
                        <a:t>видам расхода (КВР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2"/>
                        </a:rPr>
                        <a:t>240 -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3"/>
                        </a:rPr>
                        <a:t>247,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4"/>
                        </a:rPr>
                        <a:t>323,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5"/>
                        </a:rPr>
                        <a:t>411 -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414</a:t>
                      </a:r>
                    </a:p>
                    <a:p>
                      <a:r>
                        <a:rPr lang="ru-RU" dirty="0"/>
                        <a:t>(чаще всего  244, 242, 243, 414 виды расхо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2"/>
                        </a:rPr>
                        <a:t>240 -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3"/>
                        </a:rPr>
                        <a:t>247,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4"/>
                        </a:rPr>
                        <a:t>323,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5"/>
                        </a:rPr>
                        <a:t>411 - </a:t>
                      </a:r>
                      <a:r>
                        <a:rPr lang="ru-RU" sz="18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41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(чаще всего  244, 242, 243, 414 виды расхода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36467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73E99CB-D04C-46E2-81EA-1C492E8F3731}"/>
              </a:ext>
            </a:extLst>
          </p:cNvPr>
          <p:cNvSpPr txBox="1"/>
          <p:nvPr/>
        </p:nvSpPr>
        <p:spPr>
          <a:xfrm>
            <a:off x="702644" y="5622794"/>
            <a:ext cx="6092792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b="1" dirty="0"/>
              <a:t>Сумма по указанным видам расхода составляет СГОЗ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A4F6119-8992-4420-AE7C-77983419E7D7}"/>
              </a:ext>
            </a:extLst>
          </p:cNvPr>
          <p:cNvSpPr/>
          <p:nvPr/>
        </p:nvSpPr>
        <p:spPr>
          <a:xfrm>
            <a:off x="2350803" y="150535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b="1" dirty="0">
                <a:cs typeface="Times New Roman" panose="02020603050405020304" pitchFamily="18" charset="0"/>
              </a:rPr>
              <a:t>СГОЗ – это  объем финансового обеспечения на закупку товаров (работ, услуг) (ТРУ) по Закону N 44-ФЗ на год.</a:t>
            </a:r>
          </a:p>
        </p:txBody>
      </p:sp>
    </p:spTree>
    <p:extLst>
      <p:ext uri="{BB962C8B-B14F-4D97-AF65-F5344CB8AC3E}">
        <p14:creationId xmlns:p14="http://schemas.microsoft.com/office/powerpoint/2010/main" val="2414529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695718-305D-4508-82F5-8F0E350A8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исание объекта закупк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6270664-B04E-4D10-9F52-6373FB43187D}"/>
              </a:ext>
            </a:extLst>
          </p:cNvPr>
          <p:cNvSpPr/>
          <p:nvPr/>
        </p:nvSpPr>
        <p:spPr>
          <a:xfrm>
            <a:off x="615193" y="1323093"/>
            <a:ext cx="1113337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ts val="300"/>
              </a:spcBef>
              <a:spcAft>
                <a:spcPct val="0"/>
              </a:spcAft>
              <a:buClr>
                <a:srgbClr val="A04DA3"/>
              </a:buClr>
              <a:buFont typeface="Georgia" pitchFamily="18" charset="0"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ОЕ ЗАДАНИЕ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описание требований к закупаемым товарам, работам или услугам, к тому, как их поставлять, выполнять или оказывать. От качественно составленного ТЗ напрямую зависит конечный результат исполнения контракта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07C8181-243A-43ED-8B76-83BFF57F2550}"/>
              </a:ext>
            </a:extLst>
          </p:cNvPr>
          <p:cNvSpPr/>
          <p:nvPr/>
        </p:nvSpPr>
        <p:spPr bwMode="auto">
          <a:xfrm>
            <a:off x="1887522" y="2432718"/>
            <a:ext cx="9027955" cy="4650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ОЕ ЗАДАНИЕ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9A9FEA5-91BE-43C1-A4C4-A5CA16FDF9EE}"/>
              </a:ext>
            </a:extLst>
          </p:cNvPr>
          <p:cNvSpPr/>
          <p:nvPr/>
        </p:nvSpPr>
        <p:spPr bwMode="auto">
          <a:xfrm>
            <a:off x="1887522" y="3220379"/>
            <a:ext cx="2122416" cy="5847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сведения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1D05E30-08F3-41F3-94F0-CD00AA3C1AAB}"/>
              </a:ext>
            </a:extLst>
          </p:cNvPr>
          <p:cNvSpPr/>
          <p:nvPr/>
        </p:nvSpPr>
        <p:spPr bwMode="auto">
          <a:xfrm>
            <a:off x="5157459" y="3220379"/>
            <a:ext cx="2063693" cy="5847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дения об объекте закупки (ОЗ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EABCE7C-DF4E-4C51-B49E-19A7B9DE6444}"/>
              </a:ext>
            </a:extLst>
          </p:cNvPr>
          <p:cNvSpPr/>
          <p:nvPr/>
        </p:nvSpPr>
        <p:spPr bwMode="auto">
          <a:xfrm>
            <a:off x="8265953" y="3215331"/>
            <a:ext cx="2649524" cy="5847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 исполнения контракта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B47290C-36C1-4C4C-B679-33F51622362D}"/>
              </a:ext>
            </a:extLst>
          </p:cNvPr>
          <p:cNvSpPr txBox="1"/>
          <p:nvPr/>
        </p:nvSpPr>
        <p:spPr>
          <a:xfrm>
            <a:off x="1023456" y="3934470"/>
            <a:ext cx="35233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информация о Заказчик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НМЦК, источник финансирован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C7870B-0F0E-4A19-87E4-A290277E2E8F}"/>
              </a:ext>
            </a:extLst>
          </p:cNvPr>
          <p:cNvSpPr txBox="1"/>
          <p:nvPr/>
        </p:nvSpPr>
        <p:spPr>
          <a:xfrm>
            <a:off x="4462944" y="3914644"/>
            <a:ext cx="380301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наименование О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характеристики ОЗ (качественные, технические, эксплуатационные, функциональные, количественные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гарантийные треб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требования к упаковке, маркировке, этикеткам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299F78-A25F-409C-8185-DBD48711F7E8}"/>
              </a:ext>
            </a:extLst>
          </p:cNvPr>
          <p:cNvSpPr txBox="1"/>
          <p:nvPr/>
        </p:nvSpPr>
        <p:spPr>
          <a:xfrm>
            <a:off x="8139420" y="3909596"/>
            <a:ext cx="35776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600"/>
            </a:lvl1pPr>
          </a:lstStyle>
          <a:p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срок исполнения</a:t>
            </a:r>
          </a:p>
          <a:p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срок оплаты</a:t>
            </a:r>
          </a:p>
          <a:p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требование о доставке, сборке, вводе в эксплуатацию, обучению сотрудников</a:t>
            </a:r>
          </a:p>
          <a:p>
            <a:endParaRPr lang="ru-RU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2" name="Стрелка: вниз 11">
            <a:extLst>
              <a:ext uri="{FF2B5EF4-FFF2-40B4-BE49-F238E27FC236}">
                <a16:creationId xmlns:a16="http://schemas.microsoft.com/office/drawing/2014/main" id="{FF6A18C8-4960-4DF4-BB76-C2AC0CF18966}"/>
              </a:ext>
            </a:extLst>
          </p:cNvPr>
          <p:cNvSpPr/>
          <p:nvPr/>
        </p:nvSpPr>
        <p:spPr bwMode="auto">
          <a:xfrm>
            <a:off x="4915143" y="2684477"/>
            <a:ext cx="484632" cy="978408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Стрелка: вниз 15">
            <a:extLst>
              <a:ext uri="{FF2B5EF4-FFF2-40B4-BE49-F238E27FC236}">
                <a16:creationId xmlns:a16="http://schemas.microsoft.com/office/drawing/2014/main" id="{A81A4647-C560-45A2-94A9-A0EE5FAFC6AA}"/>
              </a:ext>
            </a:extLst>
          </p:cNvPr>
          <p:cNvSpPr/>
          <p:nvPr/>
        </p:nvSpPr>
        <p:spPr>
          <a:xfrm>
            <a:off x="2755783" y="2906059"/>
            <a:ext cx="385894" cy="309272"/>
          </a:xfrm>
          <a:prstGeom prst="downArrow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: вниз 16">
            <a:extLst>
              <a:ext uri="{FF2B5EF4-FFF2-40B4-BE49-F238E27FC236}">
                <a16:creationId xmlns:a16="http://schemas.microsoft.com/office/drawing/2014/main" id="{DFB72A80-78ED-4078-9FD5-BECE7F7C3D56}"/>
              </a:ext>
            </a:extLst>
          </p:cNvPr>
          <p:cNvSpPr/>
          <p:nvPr/>
        </p:nvSpPr>
        <p:spPr>
          <a:xfrm>
            <a:off x="5903053" y="2897787"/>
            <a:ext cx="385894" cy="309272"/>
          </a:xfrm>
          <a:prstGeom prst="downArrow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трелка: вниз 17">
            <a:extLst>
              <a:ext uri="{FF2B5EF4-FFF2-40B4-BE49-F238E27FC236}">
                <a16:creationId xmlns:a16="http://schemas.microsoft.com/office/drawing/2014/main" id="{B73A5823-6A73-42EF-97DA-A90F2E98E02C}"/>
              </a:ext>
            </a:extLst>
          </p:cNvPr>
          <p:cNvSpPr/>
          <p:nvPr/>
        </p:nvSpPr>
        <p:spPr>
          <a:xfrm>
            <a:off x="9397768" y="2899299"/>
            <a:ext cx="385894" cy="309272"/>
          </a:xfrm>
          <a:prstGeom prst="downArrow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97C4EEF-5F2F-4A16-A6F4-18EFC3A3BCA4}"/>
              </a:ext>
            </a:extLst>
          </p:cNvPr>
          <p:cNvSpPr txBox="1"/>
          <p:nvPr/>
        </p:nvSpPr>
        <p:spPr>
          <a:xfrm>
            <a:off x="564768" y="5859842"/>
            <a:ext cx="110624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Найти пример ТЗ можно в личном кабинете ЭТП ГПБ в разделе </a:t>
            </a:r>
          </a:p>
          <a:p>
            <a:r>
              <a:rPr lang="ru-RU" dirty="0"/>
              <a:t>«СЕРВИСЫ» - «ПОИСК ТЕХНИЧЕСКИХ ЗАДАНИЙ)</a:t>
            </a:r>
          </a:p>
        </p:txBody>
      </p:sp>
    </p:spTree>
    <p:extLst>
      <p:ext uri="{BB962C8B-B14F-4D97-AF65-F5344CB8AC3E}">
        <p14:creationId xmlns:p14="http://schemas.microsoft.com/office/powerpoint/2010/main" val="662855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5B4739-D4CB-4C76-BF3B-95183B9AFC2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 контракт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B6FF13-3F37-411E-96AE-5AC607FEB072}"/>
              </a:ext>
            </a:extLst>
          </p:cNvPr>
          <p:cNvSpPr txBox="1"/>
          <p:nvPr/>
        </p:nvSpPr>
        <p:spPr>
          <a:xfrm>
            <a:off x="570451" y="1484851"/>
            <a:ext cx="1059890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3">
                    <a:lumMod val="50000"/>
                  </a:schemeClr>
                </a:solidFill>
              </a:rPr>
              <a:t>ОСНОВНЫЕ УСЛОВИЯ КОНТРАКТА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Наименование и описание ОЗ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Цена контракта  является твердой и определяется на весь срок исполнения контракта (данная формулировка обязательна для всех контрактов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Источник финансир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ИКЗ (индивидуальный код закупки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Срок исполнения обязательств (поставка (оказание услуг, выполнение работ), календарный график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Срок оплаты (не должен превышать 30 дней с даты приемки ТРУ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Обязанности сторо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Ответственность сторо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Гарантийные обязатель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Возможность изменения и расторжения контрак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Срок действия контракт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EC8B56-BFDF-42DD-B06E-C7AC7F19A12C}"/>
              </a:ext>
            </a:extLst>
          </p:cNvPr>
          <p:cNvSpPr txBox="1"/>
          <p:nvPr/>
        </p:nvSpPr>
        <p:spPr>
          <a:xfrm>
            <a:off x="570450" y="5383433"/>
            <a:ext cx="11238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3">
                    <a:lumMod val="50000"/>
                  </a:schemeClr>
                </a:solidFill>
              </a:rPr>
              <a:t>Информация о контрактах заключаемые по п. 4 и 5 ч.1 ст. 93 44-ФЗ не размещается в реестре контракто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E0BB4D-D476-4825-BC83-AC09A3A7501E}"/>
              </a:ext>
            </a:extLst>
          </p:cNvPr>
          <p:cNvSpPr txBox="1"/>
          <p:nvPr/>
        </p:nvSpPr>
        <p:spPr>
          <a:xfrm>
            <a:off x="570450" y="5958028"/>
            <a:ext cx="11133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верить контрагента (предполагаемого исполнителя контракта) можно на ЭТП ГПБ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в разделе «СЕРВИСЫ»  - «ПРОВЕРКА КОНТРАГЕНТА»</a:t>
            </a:r>
          </a:p>
        </p:txBody>
      </p:sp>
    </p:spTree>
    <p:extLst>
      <p:ext uri="{BB962C8B-B14F-4D97-AF65-F5344CB8AC3E}">
        <p14:creationId xmlns:p14="http://schemas.microsoft.com/office/powerpoint/2010/main" val="1919562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EBD981-6115-6D49-A6C2-CA7AF40AC4B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омплексная проверка контрагента</a:t>
            </a:r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3791927459"/>
              </p:ext>
            </p:extLst>
          </p:nvPr>
        </p:nvGraphicFramePr>
        <p:xfrm>
          <a:off x="1539081" y="2363060"/>
          <a:ext cx="9113838" cy="734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FF46D90E-C48B-4E6D-B745-D55273E855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8191965"/>
              </p:ext>
            </p:extLst>
          </p:nvPr>
        </p:nvGraphicFramePr>
        <p:xfrm>
          <a:off x="1535112" y="1440924"/>
          <a:ext cx="9121776" cy="734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A824C3D-8165-444E-837C-DB4BBA655E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43051" y="3292285"/>
            <a:ext cx="9018885" cy="268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884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Выгрузка отчёта по контрагенту</a:t>
            </a: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045811832"/>
              </p:ext>
            </p:extLst>
          </p:nvPr>
        </p:nvGraphicFramePr>
        <p:xfrm>
          <a:off x="1535112" y="1440924"/>
          <a:ext cx="9121776" cy="734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973BB76-5DDE-48CC-9E0C-AAF541DB4F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3000" y="2730458"/>
            <a:ext cx="9906000" cy="23968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B65437F-2BB5-4B47-BD92-6DED4049F09A}"/>
              </a:ext>
            </a:extLst>
          </p:cNvPr>
          <p:cNvSpPr txBox="1"/>
          <p:nvPr/>
        </p:nvSpPr>
        <p:spPr>
          <a:xfrm>
            <a:off x="5969524" y="3759623"/>
            <a:ext cx="37518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необходимо ввести ИНН</a:t>
            </a:r>
          </a:p>
        </p:txBody>
      </p:sp>
      <p:sp>
        <p:nvSpPr>
          <p:cNvPr id="6" name="Стрелка: вверх 5">
            <a:extLst>
              <a:ext uri="{FF2B5EF4-FFF2-40B4-BE49-F238E27FC236}">
                <a16:creationId xmlns:a16="http://schemas.microsoft.com/office/drawing/2014/main" id="{EDE4ACEB-971F-481B-9C0F-F6443730394B}"/>
              </a:ext>
            </a:extLst>
          </p:cNvPr>
          <p:cNvSpPr/>
          <p:nvPr/>
        </p:nvSpPr>
        <p:spPr>
          <a:xfrm rot="18629743">
            <a:off x="2047974" y="5090730"/>
            <a:ext cx="329938" cy="450153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0355B2-A701-4FCC-B8D2-AB3AFB0B5BF1}"/>
              </a:ext>
            </a:extLst>
          </p:cNvPr>
          <p:cNvSpPr txBox="1"/>
          <p:nvPr/>
        </p:nvSpPr>
        <p:spPr>
          <a:xfrm>
            <a:off x="2425245" y="5228366"/>
            <a:ext cx="20550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ажать кнопку</a:t>
            </a:r>
          </a:p>
        </p:txBody>
      </p:sp>
    </p:spTree>
    <p:extLst>
      <p:ext uri="{BB962C8B-B14F-4D97-AF65-F5344CB8AC3E}">
        <p14:creationId xmlns:p14="http://schemas.microsoft.com/office/powerpoint/2010/main" val="1941214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Минфин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C00000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Городская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Тема1" id="{6BD16B83-79DB-4A41-B756-7E43A57987F8}" vid="{DEEE4B13-4755-4B52-B86E-CAF47834A6E5}"/>
    </a:ext>
  </a:extLst>
</a:theme>
</file>

<file path=ppt/theme/theme2.xml><?xml version="1.0" encoding="utf-8"?>
<a:theme xmlns:a="http://schemas.openxmlformats.org/drawingml/2006/main" name="Минфин-Титулка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Городская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2_Городская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Городская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_Городская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Городская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1_Городская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Городская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499</TotalTime>
  <Words>1049</Words>
  <Application>Microsoft Office PowerPoint</Application>
  <PresentationFormat>Широкоэкранный</PresentationFormat>
  <Paragraphs>137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5" baseType="lpstr">
      <vt:lpstr>Arial</vt:lpstr>
      <vt:lpstr>Book Antiqua</vt:lpstr>
      <vt:lpstr>Georgia</vt:lpstr>
      <vt:lpstr>Roboto</vt:lpstr>
      <vt:lpstr>Roboto Light</vt:lpstr>
      <vt:lpstr>Roboto Thin</vt:lpstr>
      <vt:lpstr>Times New Roman</vt:lpstr>
      <vt:lpstr>Wingdings 2</vt:lpstr>
      <vt:lpstr>Тема1</vt:lpstr>
      <vt:lpstr>Минфин-Титулка</vt:lpstr>
      <vt:lpstr>12_Городская</vt:lpstr>
      <vt:lpstr>10_Городская</vt:lpstr>
      <vt:lpstr>11_Городская</vt:lpstr>
      <vt:lpstr>think-cell Slide</vt:lpstr>
      <vt:lpstr>МЕТОДИЧЕСКИЕ РЕКОМЕНДАЦИИ  ЗАКУПКА У ЕДИНСТВЕННОГО ПОСТАВЩИКА </vt:lpstr>
      <vt:lpstr>Алгоритм действий</vt:lpstr>
      <vt:lpstr>ОБОСНОВАНИЕ НМЦК  (МЕТОДИЧЕСКИЕ РЕКОМЕНДАЦИИ ПО ПРИМЕНЕНИЮ МЕТОДОВ ОПРЕДЕЛЕНИЯ НМЦК – Приказ Минэкономразвития России от 02.10.2013 N 567)</vt:lpstr>
      <vt:lpstr>Объем закупок у единственного поставщика</vt:lpstr>
      <vt:lpstr>Как посчитать совокупный годовой объем закупок (СГОЗ)</vt:lpstr>
      <vt:lpstr>Описание объекта закупки</vt:lpstr>
      <vt:lpstr>Условия контракта</vt:lpstr>
      <vt:lpstr>Комплексная проверка контрагента</vt:lpstr>
      <vt:lpstr>Выгрузка отчёта по контрагенту</vt:lpstr>
      <vt:lpstr>Поиск образцов/примеров тех. заданий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тодические рекомендации</dc:title>
  <dc:creator>Шитикова Наталья Юрьевна</dc:creator>
  <cp:lastModifiedBy>Шитикова Наталья Юрьевна</cp:lastModifiedBy>
  <cp:revision>34</cp:revision>
  <dcterms:created xsi:type="dcterms:W3CDTF">2021-07-27T03:35:45Z</dcterms:created>
  <dcterms:modified xsi:type="dcterms:W3CDTF">2021-07-28T01:29:48Z</dcterms:modified>
</cp:coreProperties>
</file>